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webextensions/webextension1.xml" ContentType="application/vnd.ms-office.webextension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webextensions/taskpanes.xml" ContentType="application/vnd.ms-office.webextensiontaskpane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22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1"/>
    <p:sldMasterId id="2147483676" r:id="rId2"/>
    <p:sldMasterId id="2147483761" r:id="rId3"/>
  </p:sldMasterIdLst>
  <p:notesMasterIdLst>
    <p:notesMasterId r:id="rId12"/>
  </p:notesMasterIdLst>
  <p:sldIdLst>
    <p:sldId id="259" r:id="rId4"/>
    <p:sldId id="265" r:id="rId5"/>
    <p:sldId id="256" r:id="rId6"/>
    <p:sldId id="261" r:id="rId7"/>
    <p:sldId id="266" r:id="rId8"/>
    <p:sldId id="267" r:id="rId9"/>
    <p:sldId id="268" r:id="rId10"/>
    <p:sldId id="269" r:id="rId1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22" autoAdjust="0"/>
    <p:restoredTop sz="94719"/>
  </p:normalViewPr>
  <p:slideViewPr>
    <p:cSldViewPr snapToGrid="0">
      <p:cViewPr varScale="1">
        <p:scale>
          <a:sx n="144" d="100"/>
          <a:sy n="144" d="100"/>
        </p:scale>
        <p:origin x="117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customXml" Target="../customXml/item3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AAD178-A09D-486A-B241-25DEF434C479}" type="datetimeFigureOut">
              <a:rPr lang="fr-FR" smtClean="0"/>
              <a:t>11/1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7488F8-A91E-448B-8A9F-872CB6853BC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3161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3910E-8DFB-ACE7-F38B-95CE462E2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E5117B-31D8-9490-BF91-CB7868E6A0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C628AD-EEAA-A611-A7FA-5A38479972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2BBC79-E85A-11D6-8F87-91F2504B99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40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2">
            <a:extLst>
              <a:ext uri="{FF2B5EF4-FFF2-40B4-BE49-F238E27FC236}">
                <a16:creationId xmlns:a16="http://schemas.microsoft.com/office/drawing/2014/main" id="{EB46B8FB-F6A2-5F47-A6CD-A7E17E69270F}"/>
              </a:ext>
            </a:extLst>
          </p:cNvPr>
          <p:cNvGrpSpPr/>
          <p:nvPr/>
        </p:nvGrpSpPr>
        <p:grpSpPr>
          <a:xfrm>
            <a:off x="6201388" y="0"/>
            <a:ext cx="5990612" cy="6858001"/>
            <a:chOff x="6201388" y="0"/>
            <a:chExt cx="5990612" cy="6858001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19BDE93-3EC2-4E4D-BC0B-417378F49EDA}"/>
                </a:ext>
              </a:extLst>
            </p:cNvPr>
            <p:cNvSpPr/>
            <p:nvPr/>
          </p:nvSpPr>
          <p:spPr>
            <a:xfrm>
              <a:off x="6201388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FE21F82F-1EE5-8240-97F8-387DF0253FCE}"/>
                </a:ext>
              </a:extLst>
            </p:cNvPr>
            <p:cNvSpPr/>
            <p:nvPr/>
          </p:nvSpPr>
          <p:spPr>
            <a:xfrm>
              <a:off x="6201389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2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4" y="565575"/>
                    <a:pt x="565362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AE1903E3-6B5F-6B4C-9A1F-62628A050AEB}"/>
                </a:ext>
              </a:extLst>
            </p:cNvPr>
            <p:cNvSpPr/>
            <p:nvPr/>
          </p:nvSpPr>
          <p:spPr>
            <a:xfrm>
              <a:off x="7564255" y="6292426"/>
              <a:ext cx="1130723" cy="565575"/>
            </a:xfrm>
            <a:custGeom>
              <a:avLst/>
              <a:gdLst>
                <a:gd name="connsiteX0" fmla="*/ 565362 w 1130723"/>
                <a:gd name="connsiteY0" fmla="*/ 0 h 565575"/>
                <a:gd name="connsiteX1" fmla="*/ 1130723 w 1130723"/>
                <a:gd name="connsiteY1" fmla="*/ 565362 h 565575"/>
                <a:gd name="connsiteX2" fmla="*/ 1130702 w 1130723"/>
                <a:gd name="connsiteY2" fmla="*/ 565575 h 565575"/>
                <a:gd name="connsiteX3" fmla="*/ 21 w 1130723"/>
                <a:gd name="connsiteY3" fmla="*/ 565575 h 565575"/>
                <a:gd name="connsiteX4" fmla="*/ 0 w 1130723"/>
                <a:gd name="connsiteY4" fmla="*/ 565362 h 565575"/>
                <a:gd name="connsiteX5" fmla="*/ 565362 w 1130723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3" h="565575">
                  <a:moveTo>
                    <a:pt x="565362" y="0"/>
                  </a:moveTo>
                  <a:cubicBezTo>
                    <a:pt x="877602" y="0"/>
                    <a:pt x="1130723" y="253121"/>
                    <a:pt x="1130723" y="565362"/>
                  </a:cubicBezTo>
                  <a:lnTo>
                    <a:pt x="1130702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0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7C55863-3B37-0743-B001-1A970033FBA8}"/>
                </a:ext>
              </a:extLst>
            </p:cNvPr>
            <p:cNvSpPr/>
            <p:nvPr/>
          </p:nvSpPr>
          <p:spPr>
            <a:xfrm>
              <a:off x="7564253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32B4C24-3A58-924C-B79A-D961EF7C2C48}"/>
                </a:ext>
              </a:extLst>
            </p:cNvPr>
            <p:cNvSpPr/>
            <p:nvPr/>
          </p:nvSpPr>
          <p:spPr>
            <a:xfrm>
              <a:off x="7564253" y="217788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1EF52E0-D2CF-544F-93A6-4D7B45A0483A}"/>
                </a:ext>
              </a:extLst>
            </p:cNvPr>
            <p:cNvSpPr/>
            <p:nvPr/>
          </p:nvSpPr>
          <p:spPr>
            <a:xfrm>
              <a:off x="7564253" y="80636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6966CFE5-1C8C-2E4F-9B2D-A8438F5A5322}"/>
                </a:ext>
              </a:extLst>
            </p:cNvPr>
            <p:cNvSpPr/>
            <p:nvPr/>
          </p:nvSpPr>
          <p:spPr>
            <a:xfrm>
              <a:off x="7564254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3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3" y="565575"/>
                    <a:pt x="565363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9FD29EF3-A5B2-554A-A307-6BE1BCE8AF03}"/>
                </a:ext>
              </a:extLst>
            </p:cNvPr>
            <p:cNvSpPr/>
            <p:nvPr/>
          </p:nvSpPr>
          <p:spPr>
            <a:xfrm>
              <a:off x="8927118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2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2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C1ECAD8-0CF2-934D-AA1E-C108208CDE6F}"/>
                </a:ext>
              </a:extLst>
            </p:cNvPr>
            <p:cNvSpPr/>
            <p:nvPr/>
          </p:nvSpPr>
          <p:spPr>
            <a:xfrm>
              <a:off x="8927118" y="492091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14DED1-3A58-8C4D-902E-2A9F34043F61}"/>
                </a:ext>
              </a:extLst>
            </p:cNvPr>
            <p:cNvSpPr/>
            <p:nvPr/>
          </p:nvSpPr>
          <p:spPr>
            <a:xfrm>
              <a:off x="8927118" y="354939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5D65157-5719-0341-A807-A8956595FB4C}"/>
                </a:ext>
              </a:extLst>
            </p:cNvPr>
            <p:cNvSpPr/>
            <p:nvPr/>
          </p:nvSpPr>
          <p:spPr>
            <a:xfrm>
              <a:off x="8927118" y="217788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7F23F74-B777-2A4C-8EF9-E798880D5942}"/>
                </a:ext>
              </a:extLst>
            </p:cNvPr>
            <p:cNvSpPr/>
            <p:nvPr/>
          </p:nvSpPr>
          <p:spPr>
            <a:xfrm>
              <a:off x="8927118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E3B9A050-0AE1-1D4B-A2AC-6EEF64B106D9}"/>
                </a:ext>
              </a:extLst>
            </p:cNvPr>
            <p:cNvSpPr/>
            <p:nvPr/>
          </p:nvSpPr>
          <p:spPr>
            <a:xfrm>
              <a:off x="8927117" y="0"/>
              <a:ext cx="1130726" cy="565576"/>
            </a:xfrm>
            <a:custGeom>
              <a:avLst/>
              <a:gdLst>
                <a:gd name="connsiteX0" fmla="*/ 22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2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C424FE38-F803-8D47-BF56-1B18EC2B1F03}"/>
                </a:ext>
              </a:extLst>
            </p:cNvPr>
            <p:cNvSpPr/>
            <p:nvPr/>
          </p:nvSpPr>
          <p:spPr>
            <a:xfrm>
              <a:off x="10289984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1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E37187F2-9212-0641-97D0-1ACD50B748A8}"/>
                </a:ext>
              </a:extLst>
            </p:cNvPr>
            <p:cNvSpPr/>
            <p:nvPr/>
          </p:nvSpPr>
          <p:spPr>
            <a:xfrm>
              <a:off x="10289984" y="492091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C760C651-2AC4-564E-BEAA-AB7FAFE7F79F}"/>
                </a:ext>
              </a:extLst>
            </p:cNvPr>
            <p:cNvSpPr/>
            <p:nvPr/>
          </p:nvSpPr>
          <p:spPr>
            <a:xfrm>
              <a:off x="10289984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58B0A1B8-5BA3-3548-9511-B4904D05264B}"/>
                </a:ext>
              </a:extLst>
            </p:cNvPr>
            <p:cNvSpPr/>
            <p:nvPr/>
          </p:nvSpPr>
          <p:spPr>
            <a:xfrm>
              <a:off x="10289984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424CD779-EE9A-214D-9488-767327E373AA}"/>
                </a:ext>
              </a:extLst>
            </p:cNvPr>
            <p:cNvSpPr/>
            <p:nvPr/>
          </p:nvSpPr>
          <p:spPr>
            <a:xfrm>
              <a:off x="10289983" y="0"/>
              <a:ext cx="1130726" cy="565576"/>
            </a:xfrm>
            <a:custGeom>
              <a:avLst/>
              <a:gdLst>
                <a:gd name="connsiteX0" fmla="*/ 21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1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630D08C6-9EFB-8540-875F-2A55DED2AAE3}"/>
                </a:ext>
              </a:extLst>
            </p:cNvPr>
            <p:cNvSpPr/>
            <p:nvPr/>
          </p:nvSpPr>
          <p:spPr>
            <a:xfrm>
              <a:off x="11652854" y="6295069"/>
              <a:ext cx="539146" cy="562931"/>
            </a:xfrm>
            <a:custGeom>
              <a:avLst/>
              <a:gdLst>
                <a:gd name="connsiteX0" fmla="*/ 539146 w 539146"/>
                <a:gd name="connsiteY0" fmla="*/ 0 h 562931"/>
                <a:gd name="connsiteX1" fmla="*/ 539146 w 539146"/>
                <a:gd name="connsiteY1" fmla="*/ 562931 h 562931"/>
                <a:gd name="connsiteX2" fmla="*/ 21 w 539146"/>
                <a:gd name="connsiteY2" fmla="*/ 562931 h 562931"/>
                <a:gd name="connsiteX3" fmla="*/ 0 w 539146"/>
                <a:gd name="connsiteY3" fmla="*/ 562719 h 562931"/>
                <a:gd name="connsiteX4" fmla="*/ 451422 w 539146"/>
                <a:gd name="connsiteY4" fmla="*/ 8843 h 5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6" h="562931">
                  <a:moveTo>
                    <a:pt x="539146" y="0"/>
                  </a:moveTo>
                  <a:lnTo>
                    <a:pt x="539146" y="562931"/>
                  </a:lnTo>
                  <a:lnTo>
                    <a:pt x="21" y="562931"/>
                  </a:lnTo>
                  <a:lnTo>
                    <a:pt x="0" y="562719"/>
                  </a:lnTo>
                  <a:cubicBezTo>
                    <a:pt x="0" y="289508"/>
                    <a:pt x="193796" y="61561"/>
                    <a:pt x="451422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D7E8DA86-1294-4641-9C52-6E153150641C}"/>
                </a:ext>
              </a:extLst>
            </p:cNvPr>
            <p:cNvSpPr/>
            <p:nvPr/>
          </p:nvSpPr>
          <p:spPr>
            <a:xfrm>
              <a:off x="11652853" y="4923555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011063C9-2A43-3348-A018-F27FACAA778D}"/>
                </a:ext>
              </a:extLst>
            </p:cNvPr>
            <p:cNvSpPr/>
            <p:nvPr/>
          </p:nvSpPr>
          <p:spPr>
            <a:xfrm>
              <a:off x="11652853" y="3552039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EE85C7DE-D965-244F-BD95-3A05FF4AAC61}"/>
                </a:ext>
              </a:extLst>
            </p:cNvPr>
            <p:cNvSpPr/>
            <p:nvPr/>
          </p:nvSpPr>
          <p:spPr>
            <a:xfrm>
              <a:off x="11652853" y="2180524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9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315A1389-149A-3342-A863-637D42FDB28D}"/>
                </a:ext>
              </a:extLst>
            </p:cNvPr>
            <p:cNvSpPr/>
            <p:nvPr/>
          </p:nvSpPr>
          <p:spPr>
            <a:xfrm>
              <a:off x="11652853" y="809010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149CC6F-B6C6-BE46-B451-1BF7D47A8936}"/>
                </a:ext>
              </a:extLst>
            </p:cNvPr>
            <p:cNvSpPr/>
            <p:nvPr/>
          </p:nvSpPr>
          <p:spPr>
            <a:xfrm>
              <a:off x="11652853" y="1"/>
              <a:ext cx="539147" cy="562933"/>
            </a:xfrm>
            <a:custGeom>
              <a:avLst/>
              <a:gdLst>
                <a:gd name="connsiteX0" fmla="*/ 22 w 539147"/>
                <a:gd name="connsiteY0" fmla="*/ 0 h 562933"/>
                <a:gd name="connsiteX1" fmla="*/ 539147 w 539147"/>
                <a:gd name="connsiteY1" fmla="*/ 0 h 562933"/>
                <a:gd name="connsiteX2" fmla="*/ 539147 w 539147"/>
                <a:gd name="connsiteY2" fmla="*/ 562933 h 562933"/>
                <a:gd name="connsiteX3" fmla="*/ 451423 w 539147"/>
                <a:gd name="connsiteY3" fmla="*/ 554090 h 562933"/>
                <a:gd name="connsiteX4" fmla="*/ 0 w 539147"/>
                <a:gd name="connsiteY4" fmla="*/ 214 h 5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562933">
                  <a:moveTo>
                    <a:pt x="22" y="0"/>
                  </a:moveTo>
                  <a:lnTo>
                    <a:pt x="539147" y="0"/>
                  </a:lnTo>
                  <a:lnTo>
                    <a:pt x="539147" y="562933"/>
                  </a:lnTo>
                  <a:lnTo>
                    <a:pt x="451423" y="554090"/>
                  </a:lnTo>
                  <a:cubicBezTo>
                    <a:pt x="193797" y="501372"/>
                    <a:pt x="0" y="27342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AB39E9-6F50-3F4B-9DDB-FC0E0CA993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5150" y="768334"/>
            <a:ext cx="5066001" cy="2866405"/>
          </a:xfrm>
        </p:spPr>
        <p:txBody>
          <a:bodyPr anchor="t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B2C33E-E9A6-304D-BBCB-97AD0B213C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150" y="4283239"/>
            <a:ext cx="5066001" cy="1475177"/>
          </a:xfrm>
        </p:spPr>
        <p:txBody>
          <a:bodyPr anchor="b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C75C4-E533-BE48-B528-D1A278BC39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6928" y="457200"/>
            <a:ext cx="3608205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fld id="{A5B0A250-5CC0-1746-B209-08E8B0DAE6AF}" type="datetimeFigureOut">
              <a:rPr lang="en-US" smtClean="0"/>
              <a:pPr algn="l"/>
              <a:t>11/11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09BA8A-EF83-434D-A90E-0805D1104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CFDDE0-90B9-AD4E-B0EB-E7464FA9C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17335" y="6141085"/>
            <a:ext cx="813816" cy="365125"/>
          </a:xfrm>
        </p:spPr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33A3282-0389-C547-8CA6-7F3E7F27B34D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506600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228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7ED46EE4-CE67-DD46-A751-9FEA049A22B8}"/>
              </a:ext>
            </a:extLst>
          </p:cNvPr>
          <p:cNvGrpSpPr/>
          <p:nvPr/>
        </p:nvGrpSpPr>
        <p:grpSpPr>
          <a:xfrm>
            <a:off x="8928528" y="0"/>
            <a:ext cx="3263472" cy="6858000"/>
            <a:chOff x="8928528" y="0"/>
            <a:chExt cx="3263472" cy="6858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955C5B70-D34F-8A49-B220-808CE2BBB7F3}"/>
                </a:ext>
              </a:extLst>
            </p:cNvPr>
            <p:cNvSpPr/>
            <p:nvPr/>
          </p:nvSpPr>
          <p:spPr>
            <a:xfrm>
              <a:off x="8928528" y="491812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BBFE624-6DBD-8541-B43B-180C0AFA21F0}"/>
                </a:ext>
              </a:extLst>
            </p:cNvPr>
            <p:cNvSpPr/>
            <p:nvPr/>
          </p:nvSpPr>
          <p:spPr>
            <a:xfrm>
              <a:off x="8928528" y="0"/>
              <a:ext cx="1130724" cy="565573"/>
            </a:xfrm>
            <a:custGeom>
              <a:avLst/>
              <a:gdLst>
                <a:gd name="connsiteX0" fmla="*/ 22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2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E01AC23-2120-A542-B140-5A29AA27A2C8}"/>
                </a:ext>
              </a:extLst>
            </p:cNvPr>
            <p:cNvSpPr/>
            <p:nvPr/>
          </p:nvSpPr>
          <p:spPr>
            <a:xfrm>
              <a:off x="10291391" y="6292417"/>
              <a:ext cx="1130724" cy="565583"/>
            </a:xfrm>
            <a:custGeom>
              <a:avLst/>
              <a:gdLst>
                <a:gd name="connsiteX0" fmla="*/ 565362 w 1130724"/>
                <a:gd name="connsiteY0" fmla="*/ 0 h 565583"/>
                <a:gd name="connsiteX1" fmla="*/ 1130724 w 1130724"/>
                <a:gd name="connsiteY1" fmla="*/ 565362 h 565583"/>
                <a:gd name="connsiteX2" fmla="*/ 1130702 w 1130724"/>
                <a:gd name="connsiteY2" fmla="*/ 565583 h 565583"/>
                <a:gd name="connsiteX3" fmla="*/ 22 w 1130724"/>
                <a:gd name="connsiteY3" fmla="*/ 565583 h 565583"/>
                <a:gd name="connsiteX4" fmla="*/ 0 w 1130724"/>
                <a:gd name="connsiteY4" fmla="*/ 565362 h 565583"/>
                <a:gd name="connsiteX5" fmla="*/ 565362 w 1130724"/>
                <a:gd name="connsiteY5" fmla="*/ 0 h 56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83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2" y="565583"/>
                  </a:lnTo>
                  <a:lnTo>
                    <a:pt x="22" y="565583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54689C0-9C35-9B4D-906B-DA287DA55A38}"/>
                </a:ext>
              </a:extLst>
            </p:cNvPr>
            <p:cNvSpPr/>
            <p:nvPr/>
          </p:nvSpPr>
          <p:spPr>
            <a:xfrm>
              <a:off x="10291392" y="354939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96570F0-11E0-6147-9053-E3A4B5DBA0E4}"/>
                </a:ext>
              </a:extLst>
            </p:cNvPr>
            <p:cNvSpPr/>
            <p:nvPr/>
          </p:nvSpPr>
          <p:spPr>
            <a:xfrm>
              <a:off x="10291392" y="2177876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BDD97F6-A366-B54A-B889-42E97AFEDE37}"/>
                </a:ext>
              </a:extLst>
            </p:cNvPr>
            <p:cNvSpPr/>
            <p:nvPr/>
          </p:nvSpPr>
          <p:spPr>
            <a:xfrm>
              <a:off x="10291392" y="806363"/>
              <a:ext cx="1130724" cy="11307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8E853BC-EE80-374B-B823-8D51A948C4CF}"/>
                </a:ext>
              </a:extLst>
            </p:cNvPr>
            <p:cNvSpPr/>
            <p:nvPr/>
          </p:nvSpPr>
          <p:spPr>
            <a:xfrm>
              <a:off x="10291392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B5B70B1-649D-9848-B5D4-6DE04D55F5F0}"/>
                </a:ext>
              </a:extLst>
            </p:cNvPr>
            <p:cNvSpPr/>
            <p:nvPr/>
          </p:nvSpPr>
          <p:spPr>
            <a:xfrm>
              <a:off x="11654256" y="6295201"/>
              <a:ext cx="537744" cy="562799"/>
            </a:xfrm>
            <a:custGeom>
              <a:avLst/>
              <a:gdLst>
                <a:gd name="connsiteX0" fmla="*/ 537744 w 537744"/>
                <a:gd name="connsiteY0" fmla="*/ 0 h 562799"/>
                <a:gd name="connsiteX1" fmla="*/ 537744 w 537744"/>
                <a:gd name="connsiteY1" fmla="*/ 562799 h 562799"/>
                <a:gd name="connsiteX2" fmla="*/ 22 w 537744"/>
                <a:gd name="connsiteY2" fmla="*/ 562799 h 562799"/>
                <a:gd name="connsiteX3" fmla="*/ 0 w 537744"/>
                <a:gd name="connsiteY3" fmla="*/ 562578 h 562799"/>
                <a:gd name="connsiteX4" fmla="*/ 451422 w 537744"/>
                <a:gd name="connsiteY4" fmla="*/ 8702 h 56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99">
                  <a:moveTo>
                    <a:pt x="537744" y="0"/>
                  </a:moveTo>
                  <a:lnTo>
                    <a:pt x="537744" y="562799"/>
                  </a:lnTo>
                  <a:lnTo>
                    <a:pt x="22" y="562799"/>
                  </a:lnTo>
                  <a:lnTo>
                    <a:pt x="0" y="562578"/>
                  </a:ln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46A2092A-2157-0A49-937F-BBAE14687DE7}"/>
                </a:ext>
              </a:extLst>
            </p:cNvPr>
            <p:cNvSpPr/>
            <p:nvPr/>
          </p:nvSpPr>
          <p:spPr>
            <a:xfrm>
              <a:off x="11654256" y="4923687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092371E-D526-AF43-816F-F7AEBA9FF166}"/>
                </a:ext>
              </a:extLst>
            </p:cNvPr>
            <p:cNvSpPr/>
            <p:nvPr/>
          </p:nvSpPr>
          <p:spPr>
            <a:xfrm>
              <a:off x="11654256" y="3552173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6995714-B51E-E84A-9FD5-3AD33004E517}"/>
                </a:ext>
              </a:extLst>
            </p:cNvPr>
            <p:cNvSpPr/>
            <p:nvPr/>
          </p:nvSpPr>
          <p:spPr>
            <a:xfrm>
              <a:off x="11654256" y="2180659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FDB0CC5-76AA-6E44-8376-4EE649C1DE42}"/>
                </a:ext>
              </a:extLst>
            </p:cNvPr>
            <p:cNvSpPr/>
            <p:nvPr/>
          </p:nvSpPr>
          <p:spPr>
            <a:xfrm>
              <a:off x="11654256" y="809146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3D981F0B-8982-1C45-8D7C-30E744003823}"/>
                </a:ext>
              </a:extLst>
            </p:cNvPr>
            <p:cNvSpPr/>
            <p:nvPr/>
          </p:nvSpPr>
          <p:spPr>
            <a:xfrm>
              <a:off x="11654256" y="0"/>
              <a:ext cx="537744" cy="562788"/>
            </a:xfrm>
            <a:custGeom>
              <a:avLst/>
              <a:gdLst>
                <a:gd name="connsiteX0" fmla="*/ 21 w 537744"/>
                <a:gd name="connsiteY0" fmla="*/ 0 h 562788"/>
                <a:gd name="connsiteX1" fmla="*/ 537744 w 537744"/>
                <a:gd name="connsiteY1" fmla="*/ 0 h 562788"/>
                <a:gd name="connsiteX2" fmla="*/ 537744 w 537744"/>
                <a:gd name="connsiteY2" fmla="*/ 562788 h 562788"/>
                <a:gd name="connsiteX3" fmla="*/ 451422 w 537744"/>
                <a:gd name="connsiteY3" fmla="*/ 554086 h 562788"/>
                <a:gd name="connsiteX4" fmla="*/ 0 w 537744"/>
                <a:gd name="connsiteY4" fmla="*/ 211 h 56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88">
                  <a:moveTo>
                    <a:pt x="21" y="0"/>
                  </a:moveTo>
                  <a:lnTo>
                    <a:pt x="537744" y="0"/>
                  </a:lnTo>
                  <a:lnTo>
                    <a:pt x="537744" y="562788"/>
                  </a:lnTo>
                  <a:lnTo>
                    <a:pt x="451422" y="554086"/>
                  </a:lnTo>
                  <a:cubicBezTo>
                    <a:pt x="193796" y="501368"/>
                    <a:pt x="0" y="273421"/>
                    <a:pt x="0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76EEB7-1E87-0447-8CD6-DD220CF4E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8AE526-3A03-9B41-8C9F-27156E701C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D08D72-182D-C947-B3F7-B74948D08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6E396-D059-AF4D-A1D9-C1347978A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845B6-87C0-2F4A-8146-00E911CDF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86480" y="6141085"/>
            <a:ext cx="813816" cy="365125"/>
          </a:xfrm>
        </p:spPr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8A912D-4325-C449-BF2E-F331A221C695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733514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479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C3803ECC-8207-244B-8051-94AA5304EDD9}"/>
              </a:ext>
            </a:extLst>
          </p:cNvPr>
          <p:cNvGrpSpPr/>
          <p:nvPr/>
        </p:nvGrpSpPr>
        <p:grpSpPr>
          <a:xfrm>
            <a:off x="10290315" y="0"/>
            <a:ext cx="1901686" cy="6858000"/>
            <a:chOff x="10290315" y="0"/>
            <a:chExt cx="1901686" cy="6858000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F2E8536-821C-3846-A152-2001B7BA4BC9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7A02781-FFB4-C04E-97FB-78D26A9E8F1C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4C29607-37D2-7A4B-98E2-2C851CD6776C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12FC7BA-80CC-1C4E-B268-B3EEA08137F1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EBC8FB1-96B9-D84A-BD2A-BC8410EBE012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A8455B4-A778-B44D-A7E8-C45A4846D9F7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407CCA-80EF-2B45-8F8C-7D5796A61B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950095" y="976630"/>
            <a:ext cx="2268507" cy="47845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A221C3-F2D3-FC4F-938B-4C4CAC7370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65150" y="976630"/>
            <a:ext cx="8264057" cy="478459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61B46-3E9A-AC48-8C84-5B46EA1EC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9F8F49-5859-714C-8EE1-61A74F324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2B6F69-3FFA-D94F-BA99-873D36F7F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1B40EC-87DB-A64F-9D4B-98A86F7CEFFF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110583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126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7064" y="2410921"/>
            <a:ext cx="8960219" cy="3861600"/>
          </a:xfrm>
        </p:spPr>
        <p:txBody>
          <a:bodyPr anchor="t">
            <a:noAutofit/>
          </a:bodyPr>
          <a:lstStyle>
            <a:lvl1pPr algn="l">
              <a:defRPr sz="76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9829799" y="3246438"/>
            <a:ext cx="4114800" cy="365125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5AAFEA-9797-719F-034E-1443278D0D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83792" y="1123641"/>
            <a:ext cx="5184775" cy="1197600"/>
          </a:xfrm>
        </p:spPr>
        <p:txBody>
          <a:bodyPr anchor="ctr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3858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5E2A2-57CA-76B4-7FC7-0E7E733D4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6" y="575019"/>
            <a:ext cx="4876800" cy="132556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902CC6-0866-F6F1-FFC1-330B30DD73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CFEAA7-A226-2E50-AD23-5FE2A5B986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69D59CD-16F0-1FCD-4958-4D19378595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83793" y="0"/>
            <a:ext cx="5798607" cy="6858000"/>
          </a:xfrm>
        </p:spPr>
        <p:txBody>
          <a:bodyPr/>
          <a:lstStyle/>
          <a:p>
            <a:endParaRPr lang="en-ID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694355-D2F1-6177-CA10-2FB2BDCA94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4733" y="3072977"/>
            <a:ext cx="4631139" cy="3196800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/>
            </a:lvl1pPr>
            <a:lvl2pPr>
              <a:spcBef>
                <a:spcPts val="4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686FCB5-A714-48C5-F801-8BC93CA09E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4733" y="2656167"/>
            <a:ext cx="4634868" cy="3696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19245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25B17-B4A1-EB92-A298-388D035BB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570115"/>
            <a:ext cx="3323629" cy="5725248"/>
          </a:xfrm>
        </p:spPr>
        <p:txBody>
          <a:bodyPr anchor="ctr">
            <a:noAutofit/>
          </a:bodyPr>
          <a:lstStyle>
            <a:lvl1pPr algn="r">
              <a:defRPr/>
            </a:lvl1pPr>
          </a:lstStyle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6CE9A8-062F-E52A-B822-F2C682A3C0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EDBD3-C06B-F685-6F3A-17047C93B3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DEB065-BE89-3D91-17A6-55B54A0585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05357" y="579430"/>
            <a:ext cx="2120348" cy="5715933"/>
          </a:xfrm>
        </p:spPr>
        <p:txBody>
          <a:bodyPr/>
          <a:lstStyle/>
          <a:p>
            <a:endParaRPr lang="en-ID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DCE6C6-C40C-F791-B3FF-EEAA2288C0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8418" y="1058563"/>
            <a:ext cx="4360149" cy="5236800"/>
          </a:xfrm>
        </p:spPr>
        <p:txBody>
          <a:bodyPr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0A1734-9E96-C076-6109-08BEAB597B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8233" y="577373"/>
            <a:ext cx="4360800" cy="387187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155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25B17-B4A1-EB92-A298-388D035BB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687" y="574467"/>
            <a:ext cx="6780880" cy="1325563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6CE9A8-062F-E52A-B822-F2C682A3C0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EDBD3-C06B-F685-6F3A-17047C93B3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DEB065-BE89-3D91-17A6-55B54A0585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9017" y="563302"/>
            <a:ext cx="3160552" cy="5720232"/>
          </a:xfrm>
        </p:spPr>
        <p:txBody>
          <a:bodyPr/>
          <a:lstStyle/>
          <a:p>
            <a:endParaRPr lang="en-ID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DCE6C6-C40C-F791-B3FF-EEAA2288C0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7687" y="2625934"/>
            <a:ext cx="6780880" cy="36576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D0ED4B-C12C-75E2-03E5-013A94AE89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87826" y="2281008"/>
            <a:ext cx="6780741" cy="314400"/>
          </a:xfrm>
        </p:spPr>
        <p:txBody>
          <a:bodyPr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7519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007C1-A2D2-F1A6-D730-4F0C404CB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8" y="4162370"/>
            <a:ext cx="4118757" cy="2278186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CDCB85-C1AE-389B-180B-F0755C7558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B6781-E0BB-8244-2B18-81C5A89ABE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13D6F03-414F-3442-0C5B-EC88513781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9017" y="576078"/>
            <a:ext cx="3279453" cy="3279453"/>
          </a:xfrm>
        </p:spPr>
        <p:txBody>
          <a:bodyPr/>
          <a:lstStyle/>
          <a:p>
            <a:endParaRPr lang="en-ID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E5AE0EA-E418-F652-0112-3BBECBF9F31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44065" y="576078"/>
            <a:ext cx="3279453" cy="3279453"/>
          </a:xfrm>
        </p:spPr>
        <p:txBody>
          <a:bodyPr/>
          <a:lstStyle/>
          <a:p>
            <a:endParaRPr lang="en-ID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AB61BF6E-948C-4AEB-61A4-244B2DE035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89114" y="576078"/>
            <a:ext cx="3279453" cy="3279453"/>
          </a:xfrm>
        </p:spPr>
        <p:txBody>
          <a:bodyPr/>
          <a:lstStyle/>
          <a:p>
            <a:endParaRPr lang="en-ID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A50E1A-8491-728C-9FA7-3C2B65D8B0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2818" y="4496555"/>
            <a:ext cx="5985749" cy="1944000"/>
          </a:xfrm>
        </p:spPr>
        <p:txBody>
          <a:bodyPr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C11A40-5DE3-08FC-B5EC-62212BF67E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82818" y="4162369"/>
            <a:ext cx="5985933" cy="2712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5897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E07BE-2E01-93C2-881C-035E1AEEA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9052" y="566058"/>
            <a:ext cx="1924741" cy="5704114"/>
          </a:xfrm>
        </p:spPr>
        <p:txBody>
          <a:bodyPr vert="vert27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844A2B-1547-1655-29B9-2804D5FE37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814879-2CE9-2FEA-4087-F8FC1C8C05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EEB0609-9FA3-D912-5F69-9CD9658CA1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9017" y="1428516"/>
            <a:ext cx="3067418" cy="4000969"/>
          </a:xfrm>
        </p:spPr>
        <p:txBody>
          <a:bodyPr/>
          <a:lstStyle/>
          <a:p>
            <a:endParaRPr lang="en-ID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1A2439D-33F0-4626-5731-8FB5D5295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6409" y="1597361"/>
            <a:ext cx="4992158" cy="4207567"/>
          </a:xfrm>
        </p:spPr>
        <p:txBody>
          <a:bodyPr anchor="t">
            <a:noAutofit/>
          </a:bodyPr>
          <a:lstStyle>
            <a:lvl1pPr>
              <a:spcBef>
                <a:spcPts val="400"/>
              </a:spcBef>
              <a:defRPr/>
            </a:lvl1pPr>
            <a:lvl2pPr>
              <a:spcBef>
                <a:spcPts val="4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1CC2E2-7A85-770A-CED5-0E6F307BA9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76409" y="1248046"/>
            <a:ext cx="4992158" cy="3048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07863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E07BE-2E01-93C2-881C-035E1AEEA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1426" y="573517"/>
            <a:ext cx="4307141" cy="1454400"/>
          </a:xfrm>
        </p:spPr>
        <p:txBody>
          <a:bodyPr anchor="t">
            <a:noAutofit/>
          </a:bodyPr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844A2B-1547-1655-29B9-2804D5FE37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814879-2CE9-2FEA-4087-F8FC1C8C05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EEB0609-9FA3-D912-5F69-9CD9658CA1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9017" y="619622"/>
            <a:ext cx="5618760" cy="5618400"/>
          </a:xfrm>
        </p:spPr>
        <p:txBody>
          <a:bodyPr/>
          <a:lstStyle/>
          <a:p>
            <a:endParaRPr lang="en-ID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1A2439D-33F0-4626-5731-8FB5D5295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1426" y="2841588"/>
            <a:ext cx="4307141" cy="36144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9F0EDF-ED0D-7DF6-3D16-36E44C839E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1150" y="2474023"/>
            <a:ext cx="4307417" cy="3336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522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8D8E67-9FD7-A8F8-75F6-2FF3CD0DE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501649"/>
            <a:ext cx="10369550" cy="758604"/>
          </a:xfrm>
        </p:spPr>
        <p:txBody>
          <a:bodyPr anchor="t">
            <a:noAutofit/>
          </a:bodyPr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EFFE8E-6F6C-1E23-79C9-808201616E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C39AAF-82A4-7672-8873-E691CE5C39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2550198D-18A3-B15D-CC93-17763FFE6A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9017" y="3233531"/>
            <a:ext cx="3122820" cy="3122820"/>
          </a:xfrm>
        </p:spPr>
        <p:txBody>
          <a:bodyPr/>
          <a:lstStyle/>
          <a:p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E06D47-5795-E8A4-6688-63C0FCAB2B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45747" y="3233531"/>
            <a:ext cx="3122820" cy="3122820"/>
          </a:xfrm>
        </p:spPr>
        <p:txBody>
          <a:bodyPr/>
          <a:lstStyle/>
          <a:p>
            <a:endParaRPr lang="en-ID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BFB99BAA-F395-0232-ED1F-8AC6BA5C78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22381" y="3233531"/>
            <a:ext cx="3122820" cy="3122820"/>
          </a:xfrm>
        </p:spPr>
        <p:txBody>
          <a:bodyPr/>
          <a:lstStyle/>
          <a:p>
            <a:endParaRPr lang="en-ID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F44B7A2-957C-93E8-8209-7EE97327682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5734" y="1702061"/>
            <a:ext cx="10392833" cy="14376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F51D89-C7C9-35E8-B687-68AAC511FE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5734" y="1340909"/>
            <a:ext cx="10392833" cy="3360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8175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F0CAFDA3-320A-C24D-A7A1-20C1267EC987}"/>
              </a:ext>
            </a:extLst>
          </p:cNvPr>
          <p:cNvGrpSpPr/>
          <p:nvPr/>
        </p:nvGrpSpPr>
        <p:grpSpPr>
          <a:xfrm>
            <a:off x="8928528" y="0"/>
            <a:ext cx="3263472" cy="6858000"/>
            <a:chOff x="8928528" y="0"/>
            <a:chExt cx="3263472" cy="6858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2411669-6E2C-2243-99CD-6BC9D724FA1F}"/>
                </a:ext>
              </a:extLst>
            </p:cNvPr>
            <p:cNvSpPr/>
            <p:nvPr/>
          </p:nvSpPr>
          <p:spPr>
            <a:xfrm>
              <a:off x="8928528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E0C522-0F40-ED44-A700-F1BCD1CF74F5}"/>
                </a:ext>
              </a:extLst>
            </p:cNvPr>
            <p:cNvSpPr/>
            <p:nvPr/>
          </p:nvSpPr>
          <p:spPr>
            <a:xfrm>
              <a:off x="8928528" y="0"/>
              <a:ext cx="1130724" cy="565573"/>
            </a:xfrm>
            <a:custGeom>
              <a:avLst/>
              <a:gdLst>
                <a:gd name="connsiteX0" fmla="*/ 22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2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79B4380-CBEC-C341-A10E-5EF9A8597959}"/>
                </a:ext>
              </a:extLst>
            </p:cNvPr>
            <p:cNvSpPr/>
            <p:nvPr/>
          </p:nvSpPr>
          <p:spPr>
            <a:xfrm>
              <a:off x="10291391" y="6292417"/>
              <a:ext cx="1130724" cy="565583"/>
            </a:xfrm>
            <a:custGeom>
              <a:avLst/>
              <a:gdLst>
                <a:gd name="connsiteX0" fmla="*/ 565362 w 1130724"/>
                <a:gd name="connsiteY0" fmla="*/ 0 h 565583"/>
                <a:gd name="connsiteX1" fmla="*/ 1130724 w 1130724"/>
                <a:gd name="connsiteY1" fmla="*/ 565362 h 565583"/>
                <a:gd name="connsiteX2" fmla="*/ 1130702 w 1130724"/>
                <a:gd name="connsiteY2" fmla="*/ 565583 h 565583"/>
                <a:gd name="connsiteX3" fmla="*/ 22 w 1130724"/>
                <a:gd name="connsiteY3" fmla="*/ 565583 h 565583"/>
                <a:gd name="connsiteX4" fmla="*/ 0 w 1130724"/>
                <a:gd name="connsiteY4" fmla="*/ 565362 h 565583"/>
                <a:gd name="connsiteX5" fmla="*/ 565362 w 1130724"/>
                <a:gd name="connsiteY5" fmla="*/ 0 h 56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83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2" y="565583"/>
                  </a:lnTo>
                  <a:lnTo>
                    <a:pt x="22" y="565583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04AD70E-5490-4C4E-A05D-D67949C51A74}"/>
                </a:ext>
              </a:extLst>
            </p:cNvPr>
            <p:cNvSpPr/>
            <p:nvPr/>
          </p:nvSpPr>
          <p:spPr>
            <a:xfrm>
              <a:off x="10291392" y="354939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28A8883-9F24-0047-92B7-45B3D2E7D9C0}"/>
                </a:ext>
              </a:extLst>
            </p:cNvPr>
            <p:cNvSpPr/>
            <p:nvPr/>
          </p:nvSpPr>
          <p:spPr>
            <a:xfrm>
              <a:off x="10291392" y="2177876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AC3A3BB-FD2C-FB44-9478-FA87EF229D37}"/>
                </a:ext>
              </a:extLst>
            </p:cNvPr>
            <p:cNvSpPr/>
            <p:nvPr/>
          </p:nvSpPr>
          <p:spPr>
            <a:xfrm>
              <a:off x="10291392" y="806363"/>
              <a:ext cx="1130724" cy="11307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F46B3B1-E981-BB40-B916-51A6D3851969}"/>
                </a:ext>
              </a:extLst>
            </p:cNvPr>
            <p:cNvSpPr/>
            <p:nvPr/>
          </p:nvSpPr>
          <p:spPr>
            <a:xfrm>
              <a:off x="10291392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A7DAE92-7D6B-B042-83BE-047C8EC322A0}"/>
                </a:ext>
              </a:extLst>
            </p:cNvPr>
            <p:cNvSpPr/>
            <p:nvPr/>
          </p:nvSpPr>
          <p:spPr>
            <a:xfrm>
              <a:off x="11654256" y="6295201"/>
              <a:ext cx="537744" cy="562799"/>
            </a:xfrm>
            <a:custGeom>
              <a:avLst/>
              <a:gdLst>
                <a:gd name="connsiteX0" fmla="*/ 537744 w 537744"/>
                <a:gd name="connsiteY0" fmla="*/ 0 h 562799"/>
                <a:gd name="connsiteX1" fmla="*/ 537744 w 537744"/>
                <a:gd name="connsiteY1" fmla="*/ 562799 h 562799"/>
                <a:gd name="connsiteX2" fmla="*/ 22 w 537744"/>
                <a:gd name="connsiteY2" fmla="*/ 562799 h 562799"/>
                <a:gd name="connsiteX3" fmla="*/ 0 w 537744"/>
                <a:gd name="connsiteY3" fmla="*/ 562578 h 562799"/>
                <a:gd name="connsiteX4" fmla="*/ 451422 w 537744"/>
                <a:gd name="connsiteY4" fmla="*/ 8702 h 56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99">
                  <a:moveTo>
                    <a:pt x="537744" y="0"/>
                  </a:moveTo>
                  <a:lnTo>
                    <a:pt x="537744" y="562799"/>
                  </a:lnTo>
                  <a:lnTo>
                    <a:pt x="22" y="562799"/>
                  </a:lnTo>
                  <a:lnTo>
                    <a:pt x="0" y="562578"/>
                  </a:ln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06AADCE6-4277-EA49-AF23-63B53CA6772A}"/>
                </a:ext>
              </a:extLst>
            </p:cNvPr>
            <p:cNvSpPr/>
            <p:nvPr/>
          </p:nvSpPr>
          <p:spPr>
            <a:xfrm>
              <a:off x="11654256" y="4923687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8CEA343-047B-DF4E-A7A8-881C7740EA36}"/>
                </a:ext>
              </a:extLst>
            </p:cNvPr>
            <p:cNvSpPr/>
            <p:nvPr/>
          </p:nvSpPr>
          <p:spPr>
            <a:xfrm>
              <a:off x="11654256" y="3552173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CCBAA07-17CE-2740-AA04-AEDA5EAD2796}"/>
                </a:ext>
              </a:extLst>
            </p:cNvPr>
            <p:cNvSpPr/>
            <p:nvPr/>
          </p:nvSpPr>
          <p:spPr>
            <a:xfrm>
              <a:off x="11654256" y="2180659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BF15C430-7951-6040-BD4C-4E996E94480E}"/>
                </a:ext>
              </a:extLst>
            </p:cNvPr>
            <p:cNvSpPr/>
            <p:nvPr/>
          </p:nvSpPr>
          <p:spPr>
            <a:xfrm>
              <a:off x="11654256" y="809146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B3467F9-370D-5C4C-9EDE-E0CA0E401568}"/>
                </a:ext>
              </a:extLst>
            </p:cNvPr>
            <p:cNvSpPr/>
            <p:nvPr/>
          </p:nvSpPr>
          <p:spPr>
            <a:xfrm>
              <a:off x="11654256" y="0"/>
              <a:ext cx="537744" cy="562788"/>
            </a:xfrm>
            <a:custGeom>
              <a:avLst/>
              <a:gdLst>
                <a:gd name="connsiteX0" fmla="*/ 21 w 537744"/>
                <a:gd name="connsiteY0" fmla="*/ 0 h 562788"/>
                <a:gd name="connsiteX1" fmla="*/ 537744 w 537744"/>
                <a:gd name="connsiteY1" fmla="*/ 0 h 562788"/>
                <a:gd name="connsiteX2" fmla="*/ 537744 w 537744"/>
                <a:gd name="connsiteY2" fmla="*/ 562788 h 562788"/>
                <a:gd name="connsiteX3" fmla="*/ 451422 w 537744"/>
                <a:gd name="connsiteY3" fmla="*/ 554086 h 562788"/>
                <a:gd name="connsiteX4" fmla="*/ 0 w 537744"/>
                <a:gd name="connsiteY4" fmla="*/ 211 h 56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88">
                  <a:moveTo>
                    <a:pt x="21" y="0"/>
                  </a:moveTo>
                  <a:lnTo>
                    <a:pt x="537744" y="0"/>
                  </a:lnTo>
                  <a:lnTo>
                    <a:pt x="537744" y="562788"/>
                  </a:lnTo>
                  <a:lnTo>
                    <a:pt x="451422" y="554086"/>
                  </a:lnTo>
                  <a:cubicBezTo>
                    <a:pt x="193796" y="501368"/>
                    <a:pt x="0" y="273421"/>
                    <a:pt x="0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52A1E4-52BA-534C-AECC-35C3CF44F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15675-65B4-E14F-9785-663A83B7B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676A1E-2332-684F-BDD2-687C166BD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B8CB0-B7BE-7D4F-B254-8A2F8AEC2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5A569-A063-8E40-B703-82B11D2A9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87169" y="6141085"/>
            <a:ext cx="813816" cy="365125"/>
          </a:xfrm>
        </p:spPr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31D73A-BA91-794F-8C09-4F4B41A6D08B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73358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27089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FB309-9F80-5BE3-F82C-91733414C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3640482"/>
            <a:ext cx="3478419" cy="2809378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A27C05-E3B0-EFC4-2286-5860D4A1AC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3CF6B-04E5-9AB9-2466-0284576F03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54F23F8-6331-43CC-E76A-052E46B7754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9016" y="562709"/>
            <a:ext cx="4994450" cy="2866292"/>
          </a:xfrm>
        </p:spPr>
        <p:txBody>
          <a:bodyPr/>
          <a:lstStyle/>
          <a:p>
            <a:endParaRPr lang="en-ID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11F901-3943-1C25-A696-666A0EBDBCB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0380" y="4054660"/>
            <a:ext cx="6678187" cy="2395200"/>
          </a:xfrm>
        </p:spPr>
        <p:txBody>
          <a:bodyPr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79263BE0-4D84-7BD4-D81B-B266C5C1C4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74117" y="562709"/>
            <a:ext cx="4994450" cy="2866292"/>
          </a:xfrm>
        </p:spPr>
        <p:txBody>
          <a:bodyPr/>
          <a:lstStyle/>
          <a:p>
            <a:endParaRPr lang="en-ID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3F9E850-0A01-918A-C1F1-461E6D7C1A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0380" y="3640666"/>
            <a:ext cx="6678187" cy="3432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7659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5908D4B-9946-0E0A-8BEE-BB1C6BFDBDE6}"/>
              </a:ext>
            </a:extLst>
          </p:cNvPr>
          <p:cNvSpPr/>
          <p:nvPr userDrawn="1"/>
        </p:nvSpPr>
        <p:spPr>
          <a:xfrm>
            <a:off x="4275667" y="2355849"/>
            <a:ext cx="6692532" cy="1642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D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007C1-A2D2-F1A6-D730-4F0C404CB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6035" y="619623"/>
            <a:ext cx="6692532" cy="1633247"/>
          </a:xfrm>
        </p:spPr>
        <p:txBody>
          <a:bodyPr anchor="t">
            <a:noAutofit/>
          </a:bodyPr>
          <a:lstStyle>
            <a:lvl1pPr algn="r">
              <a:defRPr/>
            </a:lvl1pPr>
          </a:lstStyle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CDCB85-C1AE-389B-180B-F0755C7558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B6781-E0BB-8244-2B18-81C5A89ABE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13D6F03-414F-3442-0C5B-EC88513781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9017" y="619622"/>
            <a:ext cx="3279453" cy="3279453"/>
          </a:xfrm>
        </p:spPr>
        <p:txBody>
          <a:bodyPr/>
          <a:lstStyle/>
          <a:p>
            <a:endParaRPr lang="en-ID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AB61BF6E-948C-4AEB-61A4-244B2DE035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90380" y="4162370"/>
            <a:ext cx="2278187" cy="2278187"/>
          </a:xfrm>
        </p:spPr>
        <p:txBody>
          <a:bodyPr/>
          <a:lstStyle/>
          <a:p>
            <a:endParaRPr lang="en-ID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A50E1A-8491-728C-9FA7-3C2B65D8B0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9017" y="4385089"/>
            <a:ext cx="7732183" cy="2054400"/>
          </a:xfrm>
        </p:spPr>
        <p:txBody>
          <a:bodyPr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D539BA3-D11E-897F-CE18-588B0DC93D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76035" y="2607013"/>
            <a:ext cx="6692532" cy="1382400"/>
          </a:xfrm>
          <a:noFill/>
        </p:spPr>
        <p:txBody>
          <a:bodyPr lIns="90000" tIns="46800" rIns="90000" bIns="4680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910887-9DF9-8E41-CBB1-3C2A4179AC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9017" y="4126524"/>
            <a:ext cx="7732183" cy="2496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F6B920-074C-FD0C-40EB-802122795E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75667" y="2355849"/>
            <a:ext cx="6692900" cy="249599"/>
          </a:xfrm>
          <a:noFill/>
        </p:spPr>
        <p:txBody>
          <a:bodyPr anchor="ctr" anchorCtr="0">
            <a:noAutofit/>
          </a:bodyPr>
          <a:lstStyle>
            <a:lvl1pPr>
              <a:defRPr sz="12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1053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s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4419B-0A7A-D6A9-278B-3CB3F6B13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9860" y="619622"/>
            <a:ext cx="4448707" cy="1968969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475DCC-A5DC-45EE-5280-E6AF55C5FB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554E76-F34B-95F8-FD2E-0312C265AE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D592EB7-0888-4601-189D-47D758F2E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5783792" cy="3855843"/>
          </a:xfrm>
        </p:spPr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5089FCE-DB18-D776-A8F9-8E69AD01AAD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75734" y="4512078"/>
            <a:ext cx="5208058" cy="1987053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Cascadia Mono SemiBold" panose="020B0609020000020004" pitchFamily="49" charset="0"/>
                <a:cs typeface="Cascadia Mono SemiBold" panose="020B0609020000020004" pitchFamily="49" charset="0"/>
              </a:defRPr>
            </a:lvl1pPr>
            <a:lvl2pPr>
              <a:defRPr>
                <a:latin typeface="Cascadia Mono SemiBold" panose="020B0609020000020004" pitchFamily="49" charset="0"/>
                <a:ea typeface="Cascadia Mono SemiBold" panose="020B0609020000020004" pitchFamily="49" charset="0"/>
                <a:cs typeface="Cascadia Mono SemiBold" panose="020B0609020000020004" pitchFamily="49" charset="0"/>
              </a:defRPr>
            </a:lvl2pPr>
            <a:lvl3pPr>
              <a:defRPr>
                <a:latin typeface="Cascadia Mono SemiBold" panose="020B0609020000020004" pitchFamily="49" charset="0"/>
                <a:ea typeface="Cascadia Mono SemiBold" panose="020B0609020000020004" pitchFamily="49" charset="0"/>
                <a:cs typeface="Cascadia Mono SemiBold" panose="020B0609020000020004" pitchFamily="49" charset="0"/>
              </a:defRPr>
            </a:lvl3pPr>
            <a:lvl4pPr>
              <a:defRPr>
                <a:latin typeface="Cascadia Mono SemiBold" panose="020B0609020000020004" pitchFamily="49" charset="0"/>
                <a:ea typeface="Cascadia Mono SemiBold" panose="020B0609020000020004" pitchFamily="49" charset="0"/>
                <a:cs typeface="Cascadia Mono SemiBold" panose="020B0609020000020004" pitchFamily="49" charset="0"/>
              </a:defRPr>
            </a:lvl4pPr>
            <a:lvl5pPr>
              <a:defRPr>
                <a:latin typeface="Cascadia Mono SemiBold" panose="020B0609020000020004" pitchFamily="49" charset="0"/>
                <a:ea typeface="Cascadia Mono SemiBold" panose="020B0609020000020004" pitchFamily="49" charset="0"/>
                <a:cs typeface="Cascadia Mono SemiBold" panose="020B06090200000200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0477A3C-2108-3003-027C-E88B14294EA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19862" y="3429000"/>
            <a:ext cx="4448705" cy="285292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447C4F-9DF9-4C69-F400-0A0CE90074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5733" y="4066517"/>
            <a:ext cx="5208059" cy="4032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FE6426-8335-E1C3-FB13-43F08A52D6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519862" y="3091241"/>
            <a:ext cx="4448706" cy="2880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31044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6442312-9E63-3A81-2CB4-8F85F5C2CD49}"/>
              </a:ext>
            </a:extLst>
          </p:cNvPr>
          <p:cNvSpPr/>
          <p:nvPr userDrawn="1"/>
        </p:nvSpPr>
        <p:spPr>
          <a:xfrm>
            <a:off x="0" y="1945185"/>
            <a:ext cx="3878469" cy="49128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D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70176E-FDDF-30CB-EB74-A75B39D05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694" y="501649"/>
            <a:ext cx="10270873" cy="132556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C0C34D-8F75-41B3-4243-E45FBD015B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A13D18-EF04-D403-494B-02A03A28B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A0E6078-78A1-619C-E7B0-63DBC649FF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017" y="2686751"/>
            <a:ext cx="2702983" cy="36696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3E87E0F-2528-3A8B-F312-9C9235E586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58771" y="2686751"/>
            <a:ext cx="2850043" cy="36696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5F903-A46A-31EE-9532-17999D9477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9016" y="2275974"/>
            <a:ext cx="2702984" cy="369600"/>
          </a:xfrm>
        </p:spPr>
        <p:txBody>
          <a:bodyPr anchor="b">
            <a:noAutofit/>
          </a:bodyPr>
          <a:lstStyle>
            <a:lvl1pPr>
              <a:defRPr sz="12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46F59D-CF95-DEC8-5CAA-EE08708A53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8771" y="2275974"/>
            <a:ext cx="2851200" cy="3696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CDD7BE0-BC6C-5AE9-BCEE-9C91EA7B4B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18524" y="2686751"/>
            <a:ext cx="2850043" cy="36696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C0FB17E-6098-251C-5B8E-56C2FE57D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7367" y="2275974"/>
            <a:ext cx="2851200" cy="3696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1824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EEB1E-7063-62F6-6178-84A09252D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583764"/>
            <a:ext cx="10369550" cy="9624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U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88764-10F6-E04C-94EB-0287F12582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932E04-1353-E30E-552C-E54A3DA074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sp>
        <p:nvSpPr>
          <p:cNvPr id="5" name="Chart Placeholder 22">
            <a:extLst>
              <a:ext uri="{FF2B5EF4-FFF2-40B4-BE49-F238E27FC236}">
                <a16:creationId xmlns:a16="http://schemas.microsoft.com/office/drawing/2014/main" id="{10D922AA-24B6-6B14-7A38-DBC7EDED764B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1200000" y="173809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FB6B8F6-C436-9978-2F4B-4A4FAEFE520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31381" y="4112515"/>
            <a:ext cx="2396467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504E407-1287-6C2D-410A-98BC0C86744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583792" y="1711315"/>
            <a:ext cx="2400000" cy="4802400"/>
          </a:xfrm>
        </p:spPr>
        <p:txBody>
          <a:bodyPr/>
          <a:lstStyle/>
          <a:p>
            <a:endParaRPr lang="en-UZ"/>
          </a:p>
        </p:txBody>
      </p:sp>
      <p:sp>
        <p:nvSpPr>
          <p:cNvPr id="10" name="Chart Placeholder 22">
            <a:extLst>
              <a:ext uri="{FF2B5EF4-FFF2-40B4-BE49-F238E27FC236}">
                <a16:creationId xmlns:a16="http://schemas.microsoft.com/office/drawing/2014/main" id="{1BE74FB2-1D73-647C-5C92-0AA274565BB5}"/>
              </a:ext>
            </a:extLst>
          </p:cNvPr>
          <p:cNvSpPr>
            <a:spLocks noGrp="1"/>
          </p:cNvSpPr>
          <p:nvPr>
            <p:ph type="chart" sz="quarter" idx="30"/>
          </p:nvPr>
        </p:nvSpPr>
        <p:spPr>
          <a:xfrm>
            <a:off x="8329800" y="173809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7C4768-2F14-E327-6DA3-6E37F58CFAB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31381" y="3535556"/>
            <a:ext cx="2396467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E210F19-1CD2-510F-9EF1-7A725C1F08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48693" y="3535556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01CE4C3-5BFE-BA45-1C06-0F5D8259E68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4626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7545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EEB1E-7063-62F6-6178-84A09252D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583764"/>
            <a:ext cx="10369550" cy="9624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U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88764-10F6-E04C-94EB-0287F12582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932E04-1353-E30E-552C-E54A3DA074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5" name="Chart Placeholder 22">
            <a:extLst>
              <a:ext uri="{FF2B5EF4-FFF2-40B4-BE49-F238E27FC236}">
                <a16:creationId xmlns:a16="http://schemas.microsoft.com/office/drawing/2014/main" id="{10D922AA-24B6-6B14-7A38-DBC7EDED764B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1237772" y="173809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FB6B8F6-C436-9978-2F4B-4A4FAEFE520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54623" y="4123971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hart Placeholder 22">
            <a:extLst>
              <a:ext uri="{FF2B5EF4-FFF2-40B4-BE49-F238E27FC236}">
                <a16:creationId xmlns:a16="http://schemas.microsoft.com/office/drawing/2014/main" id="{1BE74FB2-1D73-647C-5C92-0AA274565BB5}"/>
              </a:ext>
            </a:extLst>
          </p:cNvPr>
          <p:cNvSpPr>
            <a:spLocks noGrp="1"/>
          </p:cNvSpPr>
          <p:nvPr>
            <p:ph type="chart" sz="quarter" idx="30"/>
          </p:nvPr>
        </p:nvSpPr>
        <p:spPr>
          <a:xfrm>
            <a:off x="8329800" y="173809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7C4768-2F14-E327-6DA3-6E37F58CFAB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57469" y="3535556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E210F19-1CD2-510F-9EF1-7A725C1F08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48693" y="3535556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01CE4C3-5BFE-BA45-1C06-0F5D8259E68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4626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hart Placeholder 22">
            <a:extLst>
              <a:ext uri="{FF2B5EF4-FFF2-40B4-BE49-F238E27FC236}">
                <a16:creationId xmlns:a16="http://schemas.microsoft.com/office/drawing/2014/main" id="{6034BEDD-4A10-0EE9-2B80-CC48F6463E58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4764900" y="173809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AF6507D-02F3-DCED-4A26-289016D4AA4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92749" y="3535556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1DD65D9A-82AD-5F53-C8F5-B476568A76B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604627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7448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EEB1E-7063-62F6-6178-84A09252D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583764"/>
            <a:ext cx="10369550" cy="9624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U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88764-10F6-E04C-94EB-0287F12582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932E04-1353-E30E-552C-E54A3DA074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5" name="Chart Placeholder 22">
            <a:extLst>
              <a:ext uri="{FF2B5EF4-FFF2-40B4-BE49-F238E27FC236}">
                <a16:creationId xmlns:a16="http://schemas.microsoft.com/office/drawing/2014/main" id="{10D922AA-24B6-6B14-7A38-DBC7EDED764B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758041" y="173809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FB6B8F6-C436-9978-2F4B-4A4FAEFE520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5733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hart Placeholder 22">
            <a:extLst>
              <a:ext uri="{FF2B5EF4-FFF2-40B4-BE49-F238E27FC236}">
                <a16:creationId xmlns:a16="http://schemas.microsoft.com/office/drawing/2014/main" id="{1BE74FB2-1D73-647C-5C92-0AA274565BB5}"/>
              </a:ext>
            </a:extLst>
          </p:cNvPr>
          <p:cNvSpPr>
            <a:spLocks noGrp="1"/>
          </p:cNvSpPr>
          <p:nvPr>
            <p:ph type="chart" sz="quarter" idx="30"/>
          </p:nvPr>
        </p:nvSpPr>
        <p:spPr>
          <a:xfrm>
            <a:off x="8735824" y="174471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7C4768-2F14-E327-6DA3-6E37F58CFAB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81086" y="3537499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E210F19-1CD2-510F-9EF1-7A725C1F08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554717" y="3540182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01CE4C3-5BFE-BA45-1C06-0F5D8259E68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66167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hart Placeholder 22">
            <a:extLst>
              <a:ext uri="{FF2B5EF4-FFF2-40B4-BE49-F238E27FC236}">
                <a16:creationId xmlns:a16="http://schemas.microsoft.com/office/drawing/2014/main" id="{6034BEDD-4A10-0EE9-2B80-CC48F6463E58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3370625" y="1744717"/>
            <a:ext cx="2037784" cy="16842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AF6507D-02F3-DCED-4A26-289016D4AA4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189519" y="3537499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1DD65D9A-82AD-5F53-C8F5-B476568A76B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189518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B133C47-E461-5076-CFB7-81D33483F78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971041" y="4111315"/>
            <a:ext cx="2402400" cy="24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610F9E3-7283-B27D-D134-C4587A57822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971041" y="3530456"/>
            <a:ext cx="2399999" cy="484860"/>
          </a:xfrm>
        </p:spPr>
        <p:txBody>
          <a:bodyPr anchor="b">
            <a:noAutofit/>
          </a:bodyPr>
          <a:lstStyle>
            <a:lvl1pPr algn="ctr">
              <a:defRPr sz="1250" b="1"/>
            </a:lvl1pPr>
            <a:lvl2pPr>
              <a:defRPr sz="933" b="1"/>
            </a:lvl2pPr>
            <a:lvl3pPr>
              <a:defRPr sz="800" b="1"/>
            </a:lvl3pPr>
            <a:lvl4pPr>
              <a:defRPr sz="733" b="1"/>
            </a:lvl4pPr>
            <a:lvl5pPr>
              <a:defRPr sz="733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22">
            <a:extLst>
              <a:ext uri="{FF2B5EF4-FFF2-40B4-BE49-F238E27FC236}">
                <a16:creationId xmlns:a16="http://schemas.microsoft.com/office/drawing/2014/main" id="{55CE330B-87B2-E709-8431-E977F2430003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6152148" y="1744717"/>
            <a:ext cx="2037784" cy="168428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8054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8A9BB-4EB7-026F-4816-EB928B5DD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7" y="583764"/>
            <a:ext cx="10369550" cy="960000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  <a:endParaRPr lang="en-U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15F750-4EF6-B33F-4FD2-2D9576B1F3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B428C6-0B9B-0025-A8AE-3EE85EAAD7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3C4683-1814-6BFA-2362-08272BB995A4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1184191" y="2398620"/>
            <a:ext cx="9199200" cy="3875617"/>
          </a:xfrm>
        </p:spPr>
        <p:txBody>
          <a:bodyPr/>
          <a:lstStyle/>
          <a:p>
            <a:endParaRPr lang="en-UZ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524791E-5C2D-05F7-7815-AE0E39BA94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84358" y="1875366"/>
            <a:ext cx="9199033" cy="388800"/>
          </a:xfrm>
        </p:spPr>
        <p:txBody>
          <a:bodyPr anchor="b"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6964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701C7-D54C-B4CE-4985-D871336E5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Click to edit Master title style</a:t>
            </a:r>
            <a:endParaRPr lang="en-U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7397F2-212D-3A9C-585D-F7362936EA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6FE0-5103-FAEE-F71B-5E68DD283B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21095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ED2E36-BADF-8412-F354-96F2041DC9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1D5FD-C837-C92F-8E5D-69F1993012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05890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3ABDDED5-B489-454D-A72D-46C9473AB018}"/>
              </a:ext>
            </a:extLst>
          </p:cNvPr>
          <p:cNvGrpSpPr/>
          <p:nvPr/>
        </p:nvGrpSpPr>
        <p:grpSpPr>
          <a:xfrm>
            <a:off x="6201388" y="0"/>
            <a:ext cx="5990612" cy="6858001"/>
            <a:chOff x="6201388" y="0"/>
            <a:chExt cx="5990612" cy="685800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6338A9A-49A1-B04D-B479-43604A5CD6D5}"/>
                </a:ext>
              </a:extLst>
            </p:cNvPr>
            <p:cNvSpPr/>
            <p:nvPr/>
          </p:nvSpPr>
          <p:spPr>
            <a:xfrm>
              <a:off x="6201388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3151B6D8-101B-F34D-992A-1668DB5D0067}"/>
                </a:ext>
              </a:extLst>
            </p:cNvPr>
            <p:cNvSpPr/>
            <p:nvPr/>
          </p:nvSpPr>
          <p:spPr>
            <a:xfrm>
              <a:off x="6201389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2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4" y="565575"/>
                    <a:pt x="565362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21D4DE71-EB1A-E74C-9364-5FEC5377F4EF}"/>
                </a:ext>
              </a:extLst>
            </p:cNvPr>
            <p:cNvSpPr/>
            <p:nvPr/>
          </p:nvSpPr>
          <p:spPr>
            <a:xfrm>
              <a:off x="7564255" y="6292426"/>
              <a:ext cx="1130723" cy="565575"/>
            </a:xfrm>
            <a:custGeom>
              <a:avLst/>
              <a:gdLst>
                <a:gd name="connsiteX0" fmla="*/ 565362 w 1130723"/>
                <a:gd name="connsiteY0" fmla="*/ 0 h 565575"/>
                <a:gd name="connsiteX1" fmla="*/ 1130723 w 1130723"/>
                <a:gd name="connsiteY1" fmla="*/ 565362 h 565575"/>
                <a:gd name="connsiteX2" fmla="*/ 1130702 w 1130723"/>
                <a:gd name="connsiteY2" fmla="*/ 565575 h 565575"/>
                <a:gd name="connsiteX3" fmla="*/ 21 w 1130723"/>
                <a:gd name="connsiteY3" fmla="*/ 565575 h 565575"/>
                <a:gd name="connsiteX4" fmla="*/ 0 w 1130723"/>
                <a:gd name="connsiteY4" fmla="*/ 565362 h 565575"/>
                <a:gd name="connsiteX5" fmla="*/ 565362 w 1130723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3" h="565575">
                  <a:moveTo>
                    <a:pt x="565362" y="0"/>
                  </a:moveTo>
                  <a:cubicBezTo>
                    <a:pt x="877602" y="0"/>
                    <a:pt x="1130723" y="253121"/>
                    <a:pt x="1130723" y="565362"/>
                  </a:cubicBezTo>
                  <a:lnTo>
                    <a:pt x="1130702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0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D99A5CD-9D3A-DA46-AD96-34B9DB522051}"/>
                </a:ext>
              </a:extLst>
            </p:cNvPr>
            <p:cNvSpPr/>
            <p:nvPr/>
          </p:nvSpPr>
          <p:spPr>
            <a:xfrm>
              <a:off x="7564253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6537DF9-74F2-924C-9B63-22B100C80C92}"/>
                </a:ext>
              </a:extLst>
            </p:cNvPr>
            <p:cNvSpPr/>
            <p:nvPr/>
          </p:nvSpPr>
          <p:spPr>
            <a:xfrm>
              <a:off x="7564253" y="217788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7655457-8E4D-F34C-A595-66A45E9C3A1F}"/>
                </a:ext>
              </a:extLst>
            </p:cNvPr>
            <p:cNvSpPr/>
            <p:nvPr/>
          </p:nvSpPr>
          <p:spPr>
            <a:xfrm>
              <a:off x="7564253" y="80636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FB0E8D2C-8947-E44C-BC5F-F81B083DAA3E}"/>
                </a:ext>
              </a:extLst>
            </p:cNvPr>
            <p:cNvSpPr/>
            <p:nvPr/>
          </p:nvSpPr>
          <p:spPr>
            <a:xfrm>
              <a:off x="7564254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3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3" y="565575"/>
                    <a:pt x="565363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ED57F45D-85B8-AC49-A2BA-E941F1BE7F15}"/>
                </a:ext>
              </a:extLst>
            </p:cNvPr>
            <p:cNvSpPr/>
            <p:nvPr/>
          </p:nvSpPr>
          <p:spPr>
            <a:xfrm>
              <a:off x="8927118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2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2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A576359-CAE3-634C-8DF8-A834BCD7D668}"/>
                </a:ext>
              </a:extLst>
            </p:cNvPr>
            <p:cNvSpPr/>
            <p:nvPr/>
          </p:nvSpPr>
          <p:spPr>
            <a:xfrm>
              <a:off x="8927118" y="492091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6343F35-6601-BD4A-B9A5-25361D0453D2}"/>
                </a:ext>
              </a:extLst>
            </p:cNvPr>
            <p:cNvSpPr/>
            <p:nvPr/>
          </p:nvSpPr>
          <p:spPr>
            <a:xfrm>
              <a:off x="8927118" y="354939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ED1C169-DCD9-9C4B-91B1-519621155A64}"/>
                </a:ext>
              </a:extLst>
            </p:cNvPr>
            <p:cNvSpPr/>
            <p:nvPr/>
          </p:nvSpPr>
          <p:spPr>
            <a:xfrm>
              <a:off x="8927118" y="217788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32328AC7-E0BC-0E46-A25B-11D523EC8100}"/>
                </a:ext>
              </a:extLst>
            </p:cNvPr>
            <p:cNvSpPr/>
            <p:nvPr/>
          </p:nvSpPr>
          <p:spPr>
            <a:xfrm>
              <a:off x="8927118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2BBE02A-588F-6C4D-B310-694098C6A340}"/>
                </a:ext>
              </a:extLst>
            </p:cNvPr>
            <p:cNvSpPr/>
            <p:nvPr/>
          </p:nvSpPr>
          <p:spPr>
            <a:xfrm>
              <a:off x="8927117" y="0"/>
              <a:ext cx="1130726" cy="565576"/>
            </a:xfrm>
            <a:custGeom>
              <a:avLst/>
              <a:gdLst>
                <a:gd name="connsiteX0" fmla="*/ 22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2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6751D5A0-C90A-0A44-8654-CFE1B719B353}"/>
                </a:ext>
              </a:extLst>
            </p:cNvPr>
            <p:cNvSpPr/>
            <p:nvPr/>
          </p:nvSpPr>
          <p:spPr>
            <a:xfrm>
              <a:off x="10289984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1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F0FA086-0D80-B74A-9B37-5EACDE30D61F}"/>
                </a:ext>
              </a:extLst>
            </p:cNvPr>
            <p:cNvSpPr/>
            <p:nvPr/>
          </p:nvSpPr>
          <p:spPr>
            <a:xfrm>
              <a:off x="10289984" y="492091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022E302-2A55-8844-A50B-DC16D075E16B}"/>
                </a:ext>
              </a:extLst>
            </p:cNvPr>
            <p:cNvSpPr/>
            <p:nvPr/>
          </p:nvSpPr>
          <p:spPr>
            <a:xfrm>
              <a:off x="10289984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4B325F5-A048-2843-A40B-3B2B31ECED76}"/>
                </a:ext>
              </a:extLst>
            </p:cNvPr>
            <p:cNvSpPr/>
            <p:nvPr/>
          </p:nvSpPr>
          <p:spPr>
            <a:xfrm>
              <a:off x="10289984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7707B616-7E85-5442-B46B-AF9426A7A0E9}"/>
                </a:ext>
              </a:extLst>
            </p:cNvPr>
            <p:cNvSpPr/>
            <p:nvPr/>
          </p:nvSpPr>
          <p:spPr>
            <a:xfrm>
              <a:off x="10289983" y="0"/>
              <a:ext cx="1130726" cy="565576"/>
            </a:xfrm>
            <a:custGeom>
              <a:avLst/>
              <a:gdLst>
                <a:gd name="connsiteX0" fmla="*/ 21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1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08914A00-D181-5847-A150-77CE67F94369}"/>
                </a:ext>
              </a:extLst>
            </p:cNvPr>
            <p:cNvSpPr/>
            <p:nvPr/>
          </p:nvSpPr>
          <p:spPr>
            <a:xfrm>
              <a:off x="11652854" y="6295069"/>
              <a:ext cx="539146" cy="562931"/>
            </a:xfrm>
            <a:custGeom>
              <a:avLst/>
              <a:gdLst>
                <a:gd name="connsiteX0" fmla="*/ 539146 w 539146"/>
                <a:gd name="connsiteY0" fmla="*/ 0 h 562931"/>
                <a:gd name="connsiteX1" fmla="*/ 539146 w 539146"/>
                <a:gd name="connsiteY1" fmla="*/ 562931 h 562931"/>
                <a:gd name="connsiteX2" fmla="*/ 21 w 539146"/>
                <a:gd name="connsiteY2" fmla="*/ 562931 h 562931"/>
                <a:gd name="connsiteX3" fmla="*/ 0 w 539146"/>
                <a:gd name="connsiteY3" fmla="*/ 562719 h 562931"/>
                <a:gd name="connsiteX4" fmla="*/ 451422 w 539146"/>
                <a:gd name="connsiteY4" fmla="*/ 8843 h 5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6" h="562931">
                  <a:moveTo>
                    <a:pt x="539146" y="0"/>
                  </a:moveTo>
                  <a:lnTo>
                    <a:pt x="539146" y="562931"/>
                  </a:lnTo>
                  <a:lnTo>
                    <a:pt x="21" y="562931"/>
                  </a:lnTo>
                  <a:lnTo>
                    <a:pt x="0" y="562719"/>
                  </a:lnTo>
                  <a:cubicBezTo>
                    <a:pt x="0" y="289508"/>
                    <a:pt x="193796" y="61561"/>
                    <a:pt x="451422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AF2D976-5F49-2848-B465-C85708A6D706}"/>
                </a:ext>
              </a:extLst>
            </p:cNvPr>
            <p:cNvSpPr/>
            <p:nvPr/>
          </p:nvSpPr>
          <p:spPr>
            <a:xfrm>
              <a:off x="11652853" y="4923555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5E333474-B850-354C-A2E2-01735C948D47}"/>
                </a:ext>
              </a:extLst>
            </p:cNvPr>
            <p:cNvSpPr/>
            <p:nvPr/>
          </p:nvSpPr>
          <p:spPr>
            <a:xfrm>
              <a:off x="11652853" y="3552039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BC25646C-71B3-4A44-A4FE-C3CABE5580BB}"/>
                </a:ext>
              </a:extLst>
            </p:cNvPr>
            <p:cNvSpPr/>
            <p:nvPr/>
          </p:nvSpPr>
          <p:spPr>
            <a:xfrm>
              <a:off x="11652853" y="2180524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9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B598CFE9-67EE-E342-9EF7-F40A1E0BE59E}"/>
                </a:ext>
              </a:extLst>
            </p:cNvPr>
            <p:cNvSpPr/>
            <p:nvPr/>
          </p:nvSpPr>
          <p:spPr>
            <a:xfrm>
              <a:off x="11652853" y="809010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1E29AD13-94FE-1349-A28E-10F6E780F510}"/>
                </a:ext>
              </a:extLst>
            </p:cNvPr>
            <p:cNvSpPr/>
            <p:nvPr/>
          </p:nvSpPr>
          <p:spPr>
            <a:xfrm>
              <a:off x="11652853" y="1"/>
              <a:ext cx="539147" cy="562933"/>
            </a:xfrm>
            <a:custGeom>
              <a:avLst/>
              <a:gdLst>
                <a:gd name="connsiteX0" fmla="*/ 22 w 539147"/>
                <a:gd name="connsiteY0" fmla="*/ 0 h 562933"/>
                <a:gd name="connsiteX1" fmla="*/ 539147 w 539147"/>
                <a:gd name="connsiteY1" fmla="*/ 0 h 562933"/>
                <a:gd name="connsiteX2" fmla="*/ 539147 w 539147"/>
                <a:gd name="connsiteY2" fmla="*/ 562933 h 562933"/>
                <a:gd name="connsiteX3" fmla="*/ 451423 w 539147"/>
                <a:gd name="connsiteY3" fmla="*/ 554090 h 562933"/>
                <a:gd name="connsiteX4" fmla="*/ 0 w 539147"/>
                <a:gd name="connsiteY4" fmla="*/ 214 h 5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562933">
                  <a:moveTo>
                    <a:pt x="22" y="0"/>
                  </a:moveTo>
                  <a:lnTo>
                    <a:pt x="539147" y="0"/>
                  </a:lnTo>
                  <a:lnTo>
                    <a:pt x="539147" y="562933"/>
                  </a:lnTo>
                  <a:lnTo>
                    <a:pt x="451423" y="554090"/>
                  </a:lnTo>
                  <a:cubicBezTo>
                    <a:pt x="193797" y="501372"/>
                    <a:pt x="0" y="27342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50648E-B4D5-4145-84E7-46B5793EA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150" y="768351"/>
            <a:ext cx="5066001" cy="2334768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3B92A6-7558-3148-B855-5BC58B4159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5150" y="4255453"/>
            <a:ext cx="5066001" cy="1500187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A0B541-D211-974B-97FE-C1F9473A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27FB0-D95A-D543-8E29-6E5F22B4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9C4404-F49D-9F48-A10B-1F60870B4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17335" y="6141085"/>
            <a:ext cx="813816" cy="365125"/>
          </a:xfrm>
        </p:spPr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6A1FD1-D82F-3141-8687-8D7C0631C215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506600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42823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1066667" cy="4000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0"/>
            </a:ext>
          </a:extLst>
        </p:spPr>
        <p:txBody>
          <a:bodyPr/>
          <a:lstStyle>
            <a:lvl1pPr/>
          </a:lstStyle>
          <a:p>
            <a:pPr algn="l"/>
            <a:fld id="{F7021451-1387-4CA6-816F-3879F97B5CBC}" type="slidenum">
              <a:rPr lang="en-US" b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3460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AD6EE87-EBD5-4F12-A48A-63ACA297AC8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blipFill dpi="0" rotWithShape="1">
            <a:blip r:embed="rId2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33350" ty="-6350" sx="50000" sy="5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73758308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3794B-289A-4A80-97D7-111025398D45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569807073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1015F-7CC6-4D0A-9D87-873EA4C304CC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0" y="-1"/>
            <a:ext cx="12192000" cy="4572000"/>
          </a:xfrm>
          <a:prstGeom prst="rect">
            <a:avLst/>
          </a:prstGeom>
          <a:blipFill dpi="0" rotWithShape="1">
            <a:blip r:embed="rId2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33350" ty="-6350" sx="50000" sy="5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2836988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6A301-0538-44EC-B09D-202E1042A48B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24953346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9574A-8875-45EF-8EA2-3CAA0F7ABC4C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461634542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F4D4C-5367-4C26-9E2B-D8088D7FCA81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291713115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1E96-98B0-4413-9547-46F3504108E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909041222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68B11-C5A8-448C-8CE9-B1A273C79CFC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67508358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16CA0-919D-4A49-9C8A-62FDFB3A5183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020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42ECFEB-12CF-4C4F-BC8A-5816C27CA565}"/>
              </a:ext>
            </a:extLst>
          </p:cNvPr>
          <p:cNvGrpSpPr/>
          <p:nvPr/>
        </p:nvGrpSpPr>
        <p:grpSpPr>
          <a:xfrm>
            <a:off x="10290315" y="0"/>
            <a:ext cx="1901686" cy="6858000"/>
            <a:chOff x="10290315" y="0"/>
            <a:chExt cx="1901686" cy="685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26C9482-2804-144B-88B2-0AF191BD757D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1363F79-96BD-9240-86E2-DF26C9C2437D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53F0BF1-DA57-1D49-82F0-802F4D385A85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CD42A1B-A03A-C946-8A2A-CE437EA433FD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591FE00-3AAF-9B4B-8107-E94D50828227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149E92E9-89A7-4842-B271-411C7DF75D2D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C29C99-0841-9F46-AB1A-E9751DFE4487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0AB684-BDA8-014B-8DCC-125F8B8DC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40E05-0F5F-6243-AD57-66BFC33ADB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2851" y="2365755"/>
            <a:ext cx="5239512" cy="33954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0B3A4-11FE-D94C-9B93-255E362310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9638" y="2365755"/>
            <a:ext cx="5239512" cy="33954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7BEEAF-F881-6E48-84AF-E5CEEF1C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472753-1CC3-9244-9AF0-6927018A6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DD55D0-FCC7-AC42-9810-9B49E3348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C736C3-88FB-244C-83B8-B2856998D221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110583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1697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73815-2707-4475-8F1A-B873CB631BB4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46265462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D"/>
              <a:t>PRESENTATION TITLE</a:t>
            </a:r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7394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7064" y="2410921"/>
            <a:ext cx="8960219" cy="3861600"/>
          </a:xfrm>
        </p:spPr>
        <p:txBody>
          <a:bodyPr anchor="t">
            <a:noAutofit/>
          </a:bodyPr>
          <a:lstStyle>
            <a:lvl1pPr algn="l">
              <a:defRPr sz="76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9829799" y="3246438"/>
            <a:ext cx="4114800" cy="365125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5AAFEA-9797-719F-034E-1443278D0D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83792" y="1123641"/>
            <a:ext cx="5184775" cy="1197600"/>
          </a:xfrm>
        </p:spPr>
        <p:txBody>
          <a:bodyPr anchor="ctr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23992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0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1066667" cy="4000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0"/>
            </a:ext>
          </a:extLst>
        </p:spPr>
        <p:txBody>
          <a:bodyPr/>
          <a:lstStyle>
            <a:lvl1pPr/>
          </a:lstStyle>
          <a:p>
            <a:pPr algn="l"/>
            <a:fld id="{F7021451-1387-4CA6-816F-3879F97B5CBC}" type="slidenum">
              <a:rPr lang="en-US" b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8144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5E2A2-57CA-76B4-7FC7-0E7E733D4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6" y="575019"/>
            <a:ext cx="4876800" cy="132556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902CC6-0866-F6F1-FFC1-330B30DD73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D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CFEAA7-A226-2E50-AD23-5FE2A5B986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69D59CD-16F0-1FCD-4958-4D19378595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83793" y="0"/>
            <a:ext cx="5798607" cy="6858000"/>
          </a:xfrm>
        </p:spPr>
        <p:txBody>
          <a:bodyPr/>
          <a:lstStyle/>
          <a:p>
            <a:endParaRPr lang="en-ID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694355-D2F1-6177-CA10-2FB2BDCA94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4733" y="3072977"/>
            <a:ext cx="4631139" cy="3196800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/>
            </a:lvl1pPr>
            <a:lvl2pPr>
              <a:spcBef>
                <a:spcPts val="4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686FCB5-A714-48C5-F801-8BC93CA09E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4733" y="2656167"/>
            <a:ext cx="4634868" cy="369600"/>
          </a:xfrm>
        </p:spPr>
        <p:txBody>
          <a:bodyPr anchor="b">
            <a:noAutofit/>
          </a:bodyPr>
          <a:lstStyle>
            <a:lvl1pPr>
              <a:defRPr sz="125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29996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B7D16A9C-7411-5242-A59C-816B8907E3BE}"/>
              </a:ext>
            </a:extLst>
          </p:cNvPr>
          <p:cNvGrpSpPr/>
          <p:nvPr/>
        </p:nvGrpSpPr>
        <p:grpSpPr>
          <a:xfrm>
            <a:off x="10290315" y="0"/>
            <a:ext cx="1901686" cy="6858000"/>
            <a:chOff x="10290315" y="0"/>
            <a:chExt cx="1901686" cy="68580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997260B-7D44-7049-B605-7FD6E6CE5612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D6AF601-77C3-D74A-B1E5-7F33703A6927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DFCA921-0F9E-2E41-A285-75409E25501A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120B9E03-438B-FC42-9DA1-835D5BC3FE88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670E1F-61CD-8940-A898-6D5092A78BB9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080C64CF-0C6A-3449-9709-AE038C4A7995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C46D5B-957F-A24C-8E36-CC71F660EC8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58182F-7B5E-FD42-AFC6-A3848D833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928" y="768096"/>
            <a:ext cx="7333488" cy="12710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9E4DE-75C0-C841-A68D-9D7BBA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2149" y="2365756"/>
            <a:ext cx="523951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5C87F7-356E-9E43-97A0-D972B22853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2149" y="3189668"/>
            <a:ext cx="5239512" cy="257155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AB4C28-30CB-CC4E-A25E-F4FEFA49BC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83066" y="2365756"/>
            <a:ext cx="523951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ED0191-963B-1E4C-BEC5-9B42E39514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83066" y="3189668"/>
            <a:ext cx="5239512" cy="257155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F0E0BED-3EB7-BB4A-A556-FA967FB011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A2466A-4D90-174C-B382-AC4674D72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EADE49-8082-214B-9742-5EE8DA2E9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E39200-18D5-014B-BAB8-FF5D0BA15E0C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110583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991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7DF52F6-A06E-0343-95B8-DAAC38DB4B8C}"/>
              </a:ext>
            </a:extLst>
          </p:cNvPr>
          <p:cNvGrpSpPr/>
          <p:nvPr/>
        </p:nvGrpSpPr>
        <p:grpSpPr>
          <a:xfrm>
            <a:off x="10290315" y="0"/>
            <a:ext cx="1901686" cy="6858000"/>
            <a:chOff x="10290315" y="0"/>
            <a:chExt cx="1901686" cy="6858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7092C52-7052-0749-9DA0-9374DBF495AE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64E1C2F-81E1-C44D-859C-946596C950F2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3626485-4263-0A44-9561-E278A7056C33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45AAB5-3CCC-DE4A-A962-3702911B55CC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CAFB16F-8EDE-D44F-A51E-34EDC41E7404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CD51329-732C-BB4C-98E5-715BAF9F8853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92B5D44-BC55-AF4C-984D-C8231B22F80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A1E9E2-564E-7049-A22F-BB5B876B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359D05-C08D-7747-B2FC-3F62B3357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FF615-BB08-A844-B689-BAA7C5040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3A67D-F96F-4849-8C83-49CC3A653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FAAB9-2B6B-8D4C-A748-433E2C393EA6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110583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3712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8BCA70-D63D-40F6-B9B3-4E49B96E2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pPr/>
              <a:t>11/11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F12559-BD91-4904-A24A-0CF0A2324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658BB7-74A5-4A6F-A0FF-021E68F02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820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0914A35-7AAF-4B42-9C68-47A633EFD9D0}"/>
              </a:ext>
            </a:extLst>
          </p:cNvPr>
          <p:cNvGrpSpPr/>
          <p:nvPr/>
        </p:nvGrpSpPr>
        <p:grpSpPr>
          <a:xfrm>
            <a:off x="10290315" y="0"/>
            <a:ext cx="1901686" cy="6858000"/>
            <a:chOff x="10290315" y="0"/>
            <a:chExt cx="1901686" cy="6858000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ABCED79-0E70-FB4D-ABF2-D859BF5556E4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364885D-A3A4-5144-AB4E-7624F27287E6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22073D5-CC72-0549-BD26-F7AF9851BE45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827A049-C9FD-554E-9B01-F151B0D9E86B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6832559-4D18-8744-AB91-9FCFAB732477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BF97A623-E5DC-1B44-B687-8643B9F0D741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37BBE1-2C82-4E45-B5C5-35E07B05E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151" y="764973"/>
            <a:ext cx="3609982" cy="13950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01F2E-A734-364B-8A7D-990D6B889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04832" y="770890"/>
            <a:ext cx="6112517" cy="480057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CBAD9-5515-1748-8E77-F48160F4ED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65150" y="2160016"/>
            <a:ext cx="3609983" cy="370897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A6C22B-80D4-AA42-9999-401E37B4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055DE4-33E8-7F4B-9334-95EA60845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470FA5-21EE-D742-8F01-C1BAE0FDB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F966AA-D7DF-F84D-80D4-E216A641B005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110583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433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10D391A-F01E-4947-8A01-95438AA0B323}"/>
              </a:ext>
            </a:extLst>
          </p:cNvPr>
          <p:cNvGrpSpPr/>
          <p:nvPr/>
        </p:nvGrpSpPr>
        <p:grpSpPr>
          <a:xfrm>
            <a:off x="10290315" y="0"/>
            <a:ext cx="1901686" cy="6858000"/>
            <a:chOff x="10290315" y="0"/>
            <a:chExt cx="1901686" cy="6858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D499306-B4E0-064D-8F6C-96E9C4BD04DA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F3D0241-0A21-8047-8CE3-B3FDD5FDF719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083F97-6891-0447-957C-AB0834B826D2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2EF7D75-E7C1-5147-A03B-3EC641CF3B08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6D7CA94-94B4-C140-8C68-01C0ADFA1C71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11CD629-C318-A848-BDDE-BBA9465EBF9D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A5AC1F8-1370-E946-977E-E4CFC6947BA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4CEE63B-B967-0A48-9623-220376760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150" y="770889"/>
            <a:ext cx="3609983" cy="1389127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11F680-28C8-FA44-9CD5-20709DA02E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23838" y="890816"/>
            <a:ext cx="6060136" cy="4870411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D507CD-197E-BB4C-83A6-DA3FC97A22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65150" y="2160016"/>
            <a:ext cx="3609983" cy="360121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9E00AC-DF6C-D548-8A06-D6269BDB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11/11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ED113B-57D4-9A4F-BFE0-2A3963B42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0D9954-FA18-8948-AA52-21CED0594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N°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3EB25D-2379-5040-B990-1C99B0B7D931}"/>
              </a:ext>
            </a:extLst>
          </p:cNvPr>
          <p:cNvCxnSpPr>
            <a:cxnSpLocks/>
          </p:cNvCxnSpPr>
          <p:nvPr/>
        </p:nvCxnSpPr>
        <p:spPr>
          <a:xfrm>
            <a:off x="565150" y="6087110"/>
            <a:ext cx="110583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687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4AF5C2C-5FEB-0D52-BFFD-69F809255E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595407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7772400" imgH="10058400" progId="TCLayout.ActiveDocument.1">
                  <p:embed/>
                </p:oleObj>
              </mc:Choice>
              <mc:Fallback>
                <p:oleObj name="Diapositive think-cell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D98E2-86CE-4D4F-9F8F-17C83D19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150" y="770890"/>
            <a:ext cx="7335835" cy="12689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4B4F2-48A4-A140-B59B-7A2ED9FD4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5150" y="2160016"/>
            <a:ext cx="7335835" cy="36012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CF4A7E-D5FF-BF48-8E01-8F46150ABF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928" y="457200"/>
            <a:ext cx="3608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5B0A250-5CC0-1746-B209-08E8B0DAE6AF}" type="datetimeFigureOut">
              <a:rPr lang="en-US" smtClean="0"/>
              <a:pPr/>
              <a:t>11/11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131757-5039-BF46-B47A-50DA8FFBC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5150" y="6141085"/>
            <a:ext cx="3608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3FD16-4337-B940-905E-D20A26FD4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9678" y="6141085"/>
            <a:ext cx="813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49ABCAEC-7D34-E549-A96E-FCEDAADBE4B0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866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96" r:id="rId2"/>
    <p:sldLayoutId id="2147483697" r:id="rId3"/>
    <p:sldLayoutId id="2147483698" r:id="rId4"/>
    <p:sldLayoutId id="2147483699" r:id="rId5"/>
    <p:sldLayoutId id="2147483680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2C5D37C-D63B-1123-0AEB-D42977A349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158615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2" imgW="7772400" imgH="10058400" progId="TCLayout.ActiveDocument.1">
                  <p:embed/>
                </p:oleObj>
              </mc:Choice>
              <mc:Fallback>
                <p:oleObj name="Diapositive think-cell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1A7B8A4-ABCC-D9A5-163D-95AADEB96E20}"/>
              </a:ext>
            </a:extLst>
          </p:cNvPr>
          <p:cNvSpPr/>
          <p:nvPr userDrawn="1"/>
        </p:nvSpPr>
        <p:spPr>
          <a:xfrm>
            <a:off x="11582400" y="0"/>
            <a:ext cx="6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9017" y="583764"/>
            <a:ext cx="10369550" cy="960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9017" y="1991065"/>
            <a:ext cx="10369550" cy="42831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9829799" y="201136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ID" dirty="0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399" y="6356351"/>
            <a:ext cx="609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10" b="1">
                <a:solidFill>
                  <a:schemeClr val="bg1"/>
                </a:solidFill>
              </a:defRPr>
            </a:lvl1pPr>
          </a:lstStyle>
          <a:p>
            <a:fld id="{CF6F24BE-8BEB-403A-BDCC-38E201D0662D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43850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706" r:id="rId19"/>
  </p:sldLayoutIdLst>
  <p:hf hd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130000"/>
        </a:lnSpc>
        <a:spcBef>
          <a:spcPts val="1000"/>
        </a:spcBef>
        <a:buFont typeface="Arial" panose="020B0604020202020204" pitchFamily="34" charset="0"/>
        <a:buNone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23" indent="0" algn="l" defTabSz="914446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None/>
        <a:defRPr sz="933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914446" indent="0" algn="l" defTabSz="914446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None/>
        <a:defRPr sz="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371669" indent="0" algn="l" defTabSz="914446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None/>
        <a:defRPr sz="733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828891" indent="0" algn="l" defTabSz="914446" rtl="0" eaLnBrk="1" latinLnBrk="0" hangingPunct="1">
        <a:lnSpc>
          <a:spcPct val="130000"/>
        </a:lnSpc>
        <a:spcBef>
          <a:spcPts val="500"/>
        </a:spcBef>
        <a:buFont typeface="Arial" panose="020B0604020202020204" pitchFamily="34" charset="0"/>
        <a:buNone/>
        <a:defRPr sz="733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65">
          <p15:clr>
            <a:srgbClr val="F26B43"/>
          </p15:clr>
        </p15:guide>
        <p15:guide id="2" orient="horz" pos="3240">
          <p15:clr>
            <a:srgbClr val="F26B43"/>
          </p15:clr>
        </p15:guide>
        <p15:guide id="3" pos="10364">
          <p15:clr>
            <a:srgbClr val="F26B43"/>
          </p15:clr>
        </p15:guide>
        <p15:guide id="4" pos="5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7060E9A-4A43-728D-7CED-DF9B02A1B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131271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7" imgW="7772400" imgH="10058400" progId="TCLayout.ActiveDocument.1">
                  <p:embed/>
                </p:oleObj>
              </mc:Choice>
              <mc:Fallback>
                <p:oleObj name="Diapositive think-cell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A5B0A250-5CC0-1746-B209-08E8B0DAE6AF}" type="datetimeFigureOut">
              <a:rPr lang="en-US" smtClean="0"/>
              <a:pPr/>
              <a:t>11/11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9ABCAEC-7D34-E549-A96E-FCEDAADBE4B0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61699B1-28FA-FA8E-291C-9D816A5CD5BA}"/>
              </a:ext>
            </a:extLst>
          </p:cNvPr>
          <p:cNvSpPr/>
          <p:nvPr userDrawn="1"/>
        </p:nvSpPr>
        <p:spPr>
          <a:xfrm>
            <a:off x="11582400" y="0"/>
            <a:ext cx="6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/>
          </a:p>
        </p:txBody>
      </p:sp>
    </p:spTree>
    <p:extLst>
      <p:ext uri="{BB962C8B-B14F-4D97-AF65-F5344CB8AC3E}">
        <p14:creationId xmlns:p14="http://schemas.microsoft.com/office/powerpoint/2010/main" val="652771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6" r:id="rId14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2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1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10.jpeg"/><Relationship Id="rId5" Type="http://schemas.openxmlformats.org/officeDocument/2006/relationships/tags" Target="../tags/tag14.xml"/><Relationship Id="rId10" Type="http://schemas.openxmlformats.org/officeDocument/2006/relationships/image" Target="../media/image9.jpeg"/><Relationship Id="rId4" Type="http://schemas.openxmlformats.org/officeDocument/2006/relationships/tags" Target="../tags/tag13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16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5.png"/><Relationship Id="rId5" Type="http://schemas.openxmlformats.org/officeDocument/2006/relationships/tags" Target="../tags/tag21.xml"/><Relationship Id="rId10" Type="http://schemas.openxmlformats.org/officeDocument/2006/relationships/image" Target="../media/image14.jpeg"/><Relationship Id="rId4" Type="http://schemas.openxmlformats.org/officeDocument/2006/relationships/tags" Target="../tags/tag20.xml"/><Relationship Id="rId9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9.jpe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18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7.png"/><Relationship Id="rId5" Type="http://schemas.openxmlformats.org/officeDocument/2006/relationships/tags" Target="../tags/tag27.xml"/><Relationship Id="rId10" Type="http://schemas.openxmlformats.org/officeDocument/2006/relationships/image" Target="../media/image13.emf"/><Relationship Id="rId4" Type="http://schemas.openxmlformats.org/officeDocument/2006/relationships/tags" Target="../tags/tag26.xml"/><Relationship Id="rId9" Type="http://schemas.openxmlformats.org/officeDocument/2006/relationships/oleObject" Target="../embeddings/oleObject6.bin"/><Relationship Id="rId1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23.jpe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22.jpeg"/><Relationship Id="rId5" Type="http://schemas.openxmlformats.org/officeDocument/2006/relationships/tags" Target="../tags/tag34.xml"/><Relationship Id="rId10" Type="http://schemas.openxmlformats.org/officeDocument/2006/relationships/image" Target="../media/image21.jpeg"/><Relationship Id="rId4" Type="http://schemas.openxmlformats.org/officeDocument/2006/relationships/tags" Target="../tags/tag33.xml"/><Relationship Id="rId9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38.xml"/><Relationship Id="rId7" Type="http://schemas.openxmlformats.org/officeDocument/2006/relationships/oleObject" Target="../embeddings/oleObject8.bin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44.xml"/><Relationship Id="rId5" Type="http://schemas.openxmlformats.org/officeDocument/2006/relationships/tags" Target="../tags/tag40.xml"/><Relationship Id="rId10" Type="http://schemas.openxmlformats.org/officeDocument/2006/relationships/image" Target="../media/image25.png"/><Relationship Id="rId4" Type="http://schemas.openxmlformats.org/officeDocument/2006/relationships/tags" Target="../tags/tag39.xml"/><Relationship Id="rId9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43.xml"/><Relationship Id="rId7" Type="http://schemas.openxmlformats.org/officeDocument/2006/relationships/image" Target="../media/image13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44.xml"/><Relationship Id="rId4" Type="http://schemas.openxmlformats.org/officeDocument/2006/relationships/tags" Target="../tags/tag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512F978-EA38-F334-B226-E78CD6A29D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4613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7772400" imgH="10058400" progId="TCLayout.ActiveDocument.1">
                  <p:embed/>
                </p:oleObj>
              </mc:Choice>
              <mc:Fallback>
                <p:oleObj name="Diapositive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3EDC587-F10B-50CB-7BC4-8A25EAC71F87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587064" y="2942897"/>
            <a:ext cx="9542456" cy="3388825"/>
          </a:xfrm>
        </p:spPr>
        <p:txBody>
          <a:bodyPr vert="horz" anchor="t" anchorCtr="0">
            <a:normAutofit/>
          </a:bodyPr>
          <a:lstStyle/>
          <a:p>
            <a:r>
              <a:rPr lang="fr-FR" sz="7500" dirty="0"/>
              <a:t>QUEL PLAN D’ACTION FACE A UN SINISTRE INCENDIE ?</a:t>
            </a:r>
            <a:endParaRPr lang="en-GB" sz="75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B66EC97-5F7F-F0A9-08D2-20C3527FB689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CONFERENCE CISS
14 NOVEMBRE - 2024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CE0C2E3-CA8C-11A5-4187-F0CF961435E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694583" y="2759404"/>
            <a:ext cx="1495047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1646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A1C3A53-C30E-45C9-0D54-649561491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14">
            <a:extLst>
              <a:ext uri="{FF2B5EF4-FFF2-40B4-BE49-F238E27FC236}">
                <a16:creationId xmlns:a16="http://schemas.microsoft.com/office/drawing/2014/main" id="{E958E136-334F-470E-A74F-85FA25AA1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re 1">
            <a:extLst>
              <a:ext uri="{FF2B5EF4-FFF2-40B4-BE49-F238E27FC236}">
                <a16:creationId xmlns:a16="http://schemas.microsoft.com/office/drawing/2014/main" id="{F5F200DD-6E18-799D-424B-A4E08AE7023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951728" y="585216"/>
            <a:ext cx="5740739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fr-CA" noProof="0" dirty="0"/>
              <a:t>INTRODUCTION</a:t>
            </a:r>
          </a:p>
        </p:txBody>
      </p:sp>
      <p:pic>
        <p:nvPicPr>
          <p:cNvPr id="5" name="Image 4" descr="Une image contenant voiture, véhicule, Véhicule terrestre, pompier&#10;&#10;Description générée automatiquement">
            <a:extLst>
              <a:ext uri="{FF2B5EF4-FFF2-40B4-BE49-F238E27FC236}">
                <a16:creationId xmlns:a16="http://schemas.microsoft.com/office/drawing/2014/main" id="{039F56AB-2A40-D52A-410C-C9CFD553DEB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632" y="484632"/>
            <a:ext cx="3248521" cy="3511948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53C1188-5B54-4FD9-9923-10F8B02E7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7745" y="484632"/>
            <a:ext cx="1082693" cy="3511948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noProof="0" dirty="0"/>
          </a:p>
        </p:txBody>
      </p:sp>
      <p:cxnSp>
        <p:nvCxnSpPr>
          <p:cNvPr id="29" name="Straight Connector 18">
            <a:extLst>
              <a:ext uri="{FF2B5EF4-FFF2-40B4-BE49-F238E27FC236}">
                <a16:creationId xmlns:a16="http://schemas.microsoft.com/office/drawing/2014/main" id="{8295AB16-F801-4293-B048-E4EE848D5B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56896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197C0D23-1E79-4C6A-8495-077250628D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5775" y="4150596"/>
            <a:ext cx="1038557" cy="2231807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noProof="0" dirty="0"/>
          </a:p>
        </p:txBody>
      </p:sp>
      <p:pic>
        <p:nvPicPr>
          <p:cNvPr id="9" name="Image 8" descr="Une image contenant ciel, plein air, pollution, nuage&#10;&#10;Description générée automatiquement">
            <a:extLst>
              <a:ext uri="{FF2B5EF4-FFF2-40B4-BE49-F238E27FC236}">
                <a16:creationId xmlns:a16="http://schemas.microsoft.com/office/drawing/2014/main" id="{08C17747-58DE-401D-A065-C5F51F2A7CB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924" y="4150596"/>
            <a:ext cx="3291514" cy="2231808"/>
          </a:xfrm>
          <a:prstGeom prst="rect">
            <a:avLst/>
          </a:prstGeom>
        </p:spPr>
      </p:pic>
      <p:sp>
        <p:nvSpPr>
          <p:cNvPr id="10" name="Espace réservé du texte 6">
            <a:extLst>
              <a:ext uri="{FF2B5EF4-FFF2-40B4-BE49-F238E27FC236}">
                <a16:creationId xmlns:a16="http://schemas.microsoft.com/office/drawing/2014/main" id="{3B29E5D2-9C2C-E608-6475-FE8946C5B44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951728" y="2286000"/>
            <a:ext cx="5099131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CA" noProof="0" dirty="0"/>
          </a:p>
          <a:p>
            <a:pPr marL="0" indent="0">
              <a:buNone/>
            </a:pPr>
            <a:r>
              <a:rPr lang="fr-CA" noProof="0" dirty="0"/>
              <a:t>L’incendie est le </a:t>
            </a:r>
            <a:r>
              <a:rPr lang="fr-CA" b="1" noProof="0" dirty="0"/>
              <a:t>risque N°1</a:t>
            </a:r>
            <a:r>
              <a:rPr lang="fr-CA" noProof="0" dirty="0"/>
              <a:t> de notre métier</a:t>
            </a:r>
          </a:p>
          <a:p>
            <a:pPr marL="0" indent="0">
              <a:buNone/>
            </a:pPr>
            <a:endParaRPr lang="fr-CA" noProof="0" dirty="0"/>
          </a:p>
          <a:p>
            <a:pPr marL="0" indent="0">
              <a:buNone/>
            </a:pPr>
            <a:r>
              <a:rPr lang="fr-CA" noProof="0" dirty="0"/>
              <a:t>Un incendie majeur </a:t>
            </a:r>
            <a:r>
              <a:rPr lang="fr-CA" b="1" noProof="0" dirty="0"/>
              <a:t>chaque année </a:t>
            </a:r>
            <a:r>
              <a:rPr lang="fr-CA" noProof="0" dirty="0"/>
              <a:t>dans le monde impactant un centre de self-</a:t>
            </a:r>
            <a:r>
              <a:rPr lang="fr-CA" noProof="0" dirty="0" err="1"/>
              <a:t>storage</a:t>
            </a:r>
            <a:endParaRPr lang="fr-CA" noProof="0" dirty="0"/>
          </a:p>
          <a:p>
            <a:pPr marL="0" indent="0">
              <a:buNone/>
            </a:pPr>
            <a:endParaRPr lang="fr-CA" noProof="0" dirty="0"/>
          </a:p>
          <a:p>
            <a:pPr marL="0" indent="0">
              <a:buNone/>
            </a:pPr>
            <a:r>
              <a:rPr lang="fr-CA" noProof="0" dirty="0"/>
              <a:t>Un incendie n’impacte pas seulement l’acteur sinistré…mais </a:t>
            </a:r>
            <a:r>
              <a:rPr lang="fr-CA" b="1" noProof="0" dirty="0"/>
              <a:t>toute l’industrie!</a:t>
            </a:r>
          </a:p>
        </p:txBody>
      </p:sp>
    </p:spTree>
    <p:extLst>
      <p:ext uri="{BB962C8B-B14F-4D97-AF65-F5344CB8AC3E}">
        <p14:creationId xmlns:p14="http://schemas.microsoft.com/office/powerpoint/2010/main" val="3060789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0"/>
          <p:cNvSpPr/>
          <p:nvPr>
            <p:custDataLst>
              <p:tags r:id="rId1"/>
            </p:custDataLst>
          </p:nvPr>
        </p:nvSpPr>
        <p:spPr>
          <a:xfrm>
            <a:off x="922019" y="764540"/>
            <a:ext cx="5712957" cy="1673860"/>
          </a:xfrm>
          <a:prstGeom prst="rect">
            <a:avLst/>
          </a:prstGeom>
          <a:noFill/>
          <a:ln/>
        </p:spPr>
        <p:txBody>
          <a:bodyPr wrap="square" rtlCol="0" anchor="t" anchorCtr="0"/>
          <a:lstStyle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defTabSz="914400">
              <a:lnSpc>
                <a:spcPct val="80000"/>
              </a:lnSpc>
              <a:spcBef>
                <a:spcPct val="0"/>
              </a:spcBef>
            </a:pPr>
            <a:r>
              <a:rPr lang="fr-FR" sz="4000" cap="all" spc="100" noProof="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rPr>
              <a:t>Les </a:t>
            </a:r>
            <a:r>
              <a:rPr lang="fr-FR" sz="4000" cap="all" spc="100" noProof="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rPr>
              <a:t>principalEs</a:t>
            </a:r>
            <a:r>
              <a:rPr lang="fr-FR" sz="4000" cap="all" spc="100" noProof="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rPr>
              <a:t> causes de feu </a:t>
            </a:r>
          </a:p>
          <a:p>
            <a:pPr indent="0" defTabSz="914400">
              <a:lnSpc>
                <a:spcPct val="80000"/>
              </a:lnSpc>
              <a:spcBef>
                <a:spcPct val="0"/>
              </a:spcBef>
            </a:pPr>
            <a:r>
              <a:rPr lang="fr-FR" sz="4000" cap="all" spc="100" noProof="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rPr>
              <a:t>DANS LE SELF-STOCKAGE</a:t>
            </a:r>
          </a:p>
        </p:txBody>
      </p:sp>
      <p:sp>
        <p:nvSpPr>
          <p:cNvPr id="4" name="Shape 1"/>
          <p:cNvSpPr/>
          <p:nvPr>
            <p:custDataLst>
              <p:tags r:id="rId2"/>
            </p:custDataLst>
          </p:nvPr>
        </p:nvSpPr>
        <p:spPr>
          <a:xfrm>
            <a:off x="1219200" y="1219200"/>
            <a:ext cx="1219200" cy="1219200"/>
          </a:xfrm>
          <a:prstGeom prst="line">
            <a:avLst/>
          </a:prstGeom>
          <a:noFill/>
          <a:ln/>
        </p:spPr>
        <p:txBody>
          <a:bodyPr/>
          <a:lstStyle/>
          <a:p>
            <a:endParaRPr lang="fr-FR"/>
          </a:p>
        </p:txBody>
      </p:sp>
      <p:sp>
        <p:nvSpPr>
          <p:cNvPr id="25" name="Slide Number Placeholder 0"/>
          <p:cNvSpPr>
            <a:spLocks noGrp="1"/>
          </p:cNvSpPr>
          <p:nvPr>
            <p:ph type="sldNum" sz="quarter" idx="4294967295"/>
            <p:custDataLst>
              <p:tags r:id="rId3"/>
            </p:custDataLst>
          </p:nvPr>
        </p:nvSpPr>
        <p:spPr>
          <a:xfrm>
            <a:off x="11569700" y="6350000"/>
            <a:ext cx="609600" cy="3556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0"/>
            </a:ext>
          </a:extLst>
        </p:spPr>
        <p:txBody>
          <a:bodyPr anchor="ctr" anchorCtr="0"/>
          <a:lstStyle>
            <a:lvl1pPr marL="0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2760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25519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278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51037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63797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76557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89315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02075" algn="l" defTabSz="1625519" rtl="0" eaLnBrk="1" latinLnBrk="0" hangingPunct="1"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7021451-1387-4CA6-816F-3879F97B5CBC}" type="slidenum">
              <a:rPr lang="en-US" sz="121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pPr algn="ctr"/>
              <a:t>3</a:t>
            </a:fld>
            <a:endParaRPr lang="en-US" sz="1210">
              <a:solidFill>
                <a:srgbClr val="FFFFFF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2" name="Espace réservé du texte 6">
            <a:extLst>
              <a:ext uri="{FF2B5EF4-FFF2-40B4-BE49-F238E27FC236}">
                <a16:creationId xmlns:a16="http://schemas.microsoft.com/office/drawing/2014/main" id="{03FDABA0-98B4-D44D-F070-481B500DC9D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97089" y="4826001"/>
            <a:ext cx="2393102" cy="76008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b="1" noProof="0" dirty="0"/>
              <a:t>Travail par point chaud</a:t>
            </a:r>
          </a:p>
        </p:txBody>
      </p:sp>
      <p:sp>
        <p:nvSpPr>
          <p:cNvPr id="6" name="Espace réservé du texte 6">
            <a:extLst>
              <a:ext uri="{FF2B5EF4-FFF2-40B4-BE49-F238E27FC236}">
                <a16:creationId xmlns:a16="http://schemas.microsoft.com/office/drawing/2014/main" id="{D434D709-9CA6-6A83-E34C-F2019BCB81A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841482" y="4826001"/>
            <a:ext cx="2001994" cy="76008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b="1" noProof="0" dirty="0"/>
              <a:t>Batteries Lithium-Ion</a:t>
            </a:r>
          </a:p>
        </p:txBody>
      </p:sp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347F75A8-B1DC-DED3-853A-5AD87207C8D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781717" y="4826001"/>
            <a:ext cx="1452443" cy="76008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b="1" noProof="0" dirty="0"/>
              <a:t>Incendie criminel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B0B29CD9-A91E-8C0A-970B-A2AF9F81817E}"/>
              </a:ext>
            </a:extLst>
          </p:cNvPr>
          <p:cNvGrpSpPr/>
          <p:nvPr/>
        </p:nvGrpSpPr>
        <p:grpSpPr>
          <a:xfrm>
            <a:off x="1019406" y="2438400"/>
            <a:ext cx="10276779" cy="2184401"/>
            <a:chOff x="1019406" y="2438400"/>
            <a:chExt cx="10943751" cy="2184401"/>
          </a:xfrm>
        </p:grpSpPr>
        <p:pic>
          <p:nvPicPr>
            <p:cNvPr id="1026" name="Picture 2" descr="10 actions de prévention pour vos travaux par point chaud - Fédération  québécoise des municipalités">
              <a:extLst>
                <a:ext uri="{FF2B5EF4-FFF2-40B4-BE49-F238E27FC236}">
                  <a16:creationId xmlns:a16="http://schemas.microsoft.com/office/drawing/2014/main" id="{9BDAD80A-7AA5-C5EC-65DB-4D7C41CEED6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9406" y="2438400"/>
              <a:ext cx="2556000" cy="2184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omment une batterie lithium peut prendre feu ?">
              <a:extLst>
                <a:ext uri="{FF2B5EF4-FFF2-40B4-BE49-F238E27FC236}">
                  <a16:creationId xmlns:a16="http://schemas.microsoft.com/office/drawing/2014/main" id="{E6F7E2B9-8340-E629-3676-D248ED9846C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2601" y="2438400"/>
              <a:ext cx="2556000" cy="2184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22 200+ Incendie Criminel Photos, taleaux et images libre de droits -  iStock | Tuyau d'incendie, Incendie entreprise, Feu">
              <a:extLst>
                <a:ext uri="{FF2B5EF4-FFF2-40B4-BE49-F238E27FC236}">
                  <a16:creationId xmlns:a16="http://schemas.microsoft.com/office/drawing/2014/main" id="{187AB86A-89A7-8A17-B555-2413277ACF48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651051" y="2438400"/>
              <a:ext cx="2556000" cy="2184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Quelles sont les principales cause d'incendies électriques ?">
              <a:extLst>
                <a:ext uri="{FF2B5EF4-FFF2-40B4-BE49-F238E27FC236}">
                  <a16:creationId xmlns:a16="http://schemas.microsoft.com/office/drawing/2014/main" id="{1475A8ED-FC76-CA3B-1DC9-90DA9E4F2D5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407157" y="2438400"/>
              <a:ext cx="2556000" cy="2184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88F56B1-4CB9-1616-7C7E-10169BF105F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369851" y="4826001"/>
            <a:ext cx="1452443" cy="76008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b="1" noProof="0" dirty="0"/>
              <a:t>Feu électrique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8E0CBB6-BD6D-320C-8771-F99EEC90D9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69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7772400" imgH="10058400" progId="TCLayout.ActiveDocument.1">
                  <p:embed/>
                </p:oleObj>
              </mc:Choice>
              <mc:Fallback>
                <p:oleObj name="Diapositive think-cell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3D6FC5D8-B9DC-6FC8-B1D0-AF1F1D97FA5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40948" y="853440"/>
            <a:ext cx="4634868" cy="640080"/>
          </a:xfrm>
        </p:spPr>
        <p:txBody>
          <a:bodyPr vert="horz"/>
          <a:lstStyle/>
          <a:p>
            <a:r>
              <a:rPr lang="fr-FR" sz="4000" dirty="0"/>
              <a:t>ETES VOUS PRETS?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E49AD6E-E6A0-EA99-8FDD-49C7DFB3B471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4</a:t>
            </a:fld>
            <a:endParaRPr lang="en-ID" dirty="0"/>
          </a:p>
        </p:txBody>
      </p:sp>
      <p:pic>
        <p:nvPicPr>
          <p:cNvPr id="2050" name="Picture 2" descr="Risk Assessment Icon - Images et vidéos libres de droits | Adobe Stock">
            <a:extLst>
              <a:ext uri="{FF2B5EF4-FFF2-40B4-BE49-F238E27FC236}">
                <a16:creationId xmlns:a16="http://schemas.microsoft.com/office/drawing/2014/main" id="{D9364D8D-487B-0588-DAFF-4101240C6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184" y="2288349"/>
            <a:ext cx="2107258" cy="2107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Assurance - Icônes sécurité gratuites">
            <a:extLst>
              <a:ext uri="{FF2B5EF4-FFF2-40B4-BE49-F238E27FC236}">
                <a16:creationId xmlns:a16="http://schemas.microsoft.com/office/drawing/2014/main" id="{03E62146-82E4-8A90-183A-73A3B07AA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1424" y="2470641"/>
            <a:ext cx="1719307" cy="171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320,533 Plan De Emergencia Stock Vectors and Vector Art | Shutterstock">
            <a:extLst>
              <a:ext uri="{FF2B5EF4-FFF2-40B4-BE49-F238E27FC236}">
                <a16:creationId xmlns:a16="http://schemas.microsoft.com/office/drawing/2014/main" id="{B0CE3326-9C1B-2D8A-800E-CBE61429AB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54790" y="2459491"/>
            <a:ext cx="1112544" cy="149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Espace réservé du texte 6">
            <a:extLst>
              <a:ext uri="{FF2B5EF4-FFF2-40B4-BE49-F238E27FC236}">
                <a16:creationId xmlns:a16="http://schemas.microsoft.com/office/drawing/2014/main" id="{0287187E-9F57-F7A4-F9CD-F5F152DAE89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29430" y="4395607"/>
            <a:ext cx="2707889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Évaluation régulière des risques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90A52431-ABB5-6506-1A7F-5FADA53342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77133" y="4395283"/>
            <a:ext cx="2707888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Revue de la couverture assuranc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8A8C21E9-B38C-60BD-BD8A-ECCE8F75B5B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257118" y="4395282"/>
            <a:ext cx="2707888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Mise en place d’un plan d’urgence </a:t>
            </a:r>
          </a:p>
        </p:txBody>
      </p:sp>
    </p:spTree>
    <p:extLst>
      <p:ext uri="{BB962C8B-B14F-4D97-AF65-F5344CB8AC3E}">
        <p14:creationId xmlns:p14="http://schemas.microsoft.com/office/powerpoint/2010/main" val="29550289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FEEACE-6DE8-BFE5-3D43-66A752591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C5ADAF-1FB7-D6A7-80B2-CCDE61E408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8391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7772400" imgH="10058400" progId="TCLayout.ActiveDocument.1">
                  <p:embed/>
                </p:oleObj>
              </mc:Choice>
              <mc:Fallback>
                <p:oleObj name="Diapositive think-cell" r:id="rId9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E0CBB6-BD6D-320C-8771-F99EEC90D9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8D7546C4-2749-F894-AABB-C516A95BF1E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40946" y="853440"/>
            <a:ext cx="8089283" cy="640080"/>
          </a:xfrm>
        </p:spPr>
        <p:txBody>
          <a:bodyPr vert="horz"/>
          <a:lstStyle/>
          <a:p>
            <a:r>
              <a:rPr lang="fr-FR" sz="4000" dirty="0"/>
              <a:t>FACE A UN INCENDIE : QUELLE COMMUNICATION?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1EED93F-935A-8878-3AB7-7BC29B257B50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5</a:t>
            </a:fld>
            <a:endParaRPr lang="en-ID" dirty="0"/>
          </a:p>
        </p:txBody>
      </p:sp>
      <p:pic>
        <p:nvPicPr>
          <p:cNvPr id="3074" name="Picture 2" descr="Équipez L'illustration Plate De Pictogramme De Couleur De Vecteur D'icône  De Service Et Support De Soin De Client Illustration de Vecteur -  Illustration du contact, conception: 98003383">
            <a:extLst>
              <a:ext uri="{FF2B5EF4-FFF2-40B4-BE49-F238E27FC236}">
                <a16:creationId xmlns:a16="http://schemas.microsoft.com/office/drawing/2014/main" id="{84DE4955-8B7B-976E-9731-D9380F3A3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230" y="2358187"/>
            <a:ext cx="1921801" cy="1921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Pictogramme Pompier Photos, Images &amp; Pictures | Shutterstock">
            <a:extLst>
              <a:ext uri="{FF2B5EF4-FFF2-40B4-BE49-F238E27FC236}">
                <a16:creationId xmlns:a16="http://schemas.microsoft.com/office/drawing/2014/main" id="{F51BB983-D638-33C1-5B10-28063C2EF7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58194" y="2502654"/>
            <a:ext cx="1386338" cy="1632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Building insurance icon Royalty Free Vector Image">
            <a:extLst>
              <a:ext uri="{FF2B5EF4-FFF2-40B4-BE49-F238E27FC236}">
                <a16:creationId xmlns:a16="http://schemas.microsoft.com/office/drawing/2014/main" id="{6D45ED76-58F5-C4AC-3836-1C57C9C8C4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52403" y="2620224"/>
            <a:ext cx="1921802" cy="1632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Communication interne images vectorielles, Communication interne vecteurs  libres de droits | Depositphotos">
            <a:extLst>
              <a:ext uri="{FF2B5EF4-FFF2-40B4-BE49-F238E27FC236}">
                <a16:creationId xmlns:a16="http://schemas.microsoft.com/office/drawing/2014/main" id="{71E668F1-20D5-FE42-78B0-134C11D60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94" y="2301932"/>
            <a:ext cx="2131129" cy="213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5A7BDE0A-FFBD-AD1C-C731-3EC1ECE38C1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40946" y="4446298"/>
            <a:ext cx="2404230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Com interne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id="{5CB6EDC6-8535-87EA-1CBC-94D92EC3DFD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948173" y="4433061"/>
            <a:ext cx="1655446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Autorité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0D4D942B-2FCB-D77F-9595-5710FAD2680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230532" y="4446298"/>
            <a:ext cx="2043673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Assureur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id="{E7554584-0803-63FD-67E1-DEE68244B53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063407" y="4433060"/>
            <a:ext cx="1655446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Client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7C340678-E6CD-7AD6-C0EE-1B3E03B607B9}"/>
              </a:ext>
            </a:extLst>
          </p:cNvPr>
          <p:cNvSpPr txBox="1"/>
          <p:nvPr/>
        </p:nvSpPr>
        <p:spPr>
          <a:xfrm>
            <a:off x="1466384" y="5648173"/>
            <a:ext cx="8424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SzPts val="1000"/>
              <a:tabLst>
                <a:tab pos="457200" algn="l"/>
              </a:tabLst>
            </a:pPr>
            <a:r>
              <a:rPr lang="fr-FR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MMER UN SEUL INTERLOCUTEUR RESPONSABLE PAR CANAL, CENTRALISANT LA COMMUNICATION</a:t>
            </a:r>
            <a:endParaRPr lang="fr-FR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869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E204F-3B56-EE95-0470-FA1AD7B56D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F1B9DF6-4A7F-CE22-75A9-C8E312C968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8219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7772400" imgH="10058400" progId="TCLayout.ActiveDocument.1">
                  <p:embed/>
                </p:oleObj>
              </mc:Choice>
              <mc:Fallback>
                <p:oleObj name="Diapositive think-cell" r:id="rId8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C5ADAF-1FB7-D6A7-80B2-CCDE61E40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40C34E54-DA04-2D8A-9215-B3F0A421FF9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40947" y="853440"/>
            <a:ext cx="6864546" cy="640080"/>
          </a:xfrm>
        </p:spPr>
        <p:txBody>
          <a:bodyPr vert="horz"/>
          <a:lstStyle/>
          <a:p>
            <a:r>
              <a:rPr lang="fr-FR" sz="4000" dirty="0"/>
              <a:t>FACE A UN INCENDIE : SECURIS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7EC4AE3-0261-7B8E-8FFA-55426B31F5E9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6</a:t>
            </a:fld>
            <a:endParaRPr lang="en-ID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38DA342-0F38-ECE2-B817-EF005A4A533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357" y="1995556"/>
            <a:ext cx="2743548" cy="2743548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DAB400E-C43A-CBF7-CEC4-D3C6EEB7BCC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352016" y="4942519"/>
            <a:ext cx="2404230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Sécuriser l’accès au sit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1E6A018-43B1-6DA6-CF04-826740ABDE9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1346" y="1995556"/>
            <a:ext cx="2743548" cy="2743548"/>
          </a:xfrm>
          <a:prstGeom prst="rect">
            <a:avLst/>
          </a:prstGeom>
        </p:spPr>
      </p:pic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D38196D-25E3-A1AE-CD8C-030E4F30755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520365" y="4942519"/>
            <a:ext cx="2825510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Se faire accompagner en permanence d’un huissier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586E2EE-0B7E-38EE-EE51-DD3BF3406B0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336" y="1995556"/>
            <a:ext cx="2743548" cy="2743548"/>
          </a:xfrm>
          <a:prstGeom prst="rect">
            <a:avLst/>
          </a:prstGeom>
        </p:spPr>
      </p:pic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id="{B26681EC-9C34-914A-353C-CDCA9424DB8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893897" y="4942519"/>
            <a:ext cx="2825510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noProof="0" dirty="0"/>
              <a:t>Gérer le transfert, si nécessaire, des biens clients transférables</a:t>
            </a:r>
          </a:p>
        </p:txBody>
      </p:sp>
    </p:spTree>
    <p:extLst>
      <p:ext uri="{BB962C8B-B14F-4D97-AF65-F5344CB8AC3E}">
        <p14:creationId xmlns:p14="http://schemas.microsoft.com/office/powerpoint/2010/main" val="2811900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24222-E535-2ECA-B13B-1292A0374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BD43B40-FCDB-0BAC-6D2F-BB70ED9A3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8948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7772400" imgH="10058400" progId="TCLayout.ActiveDocument.1">
                  <p:embed/>
                </p:oleObj>
              </mc:Choice>
              <mc:Fallback>
                <p:oleObj name="Diapositive think-cell" r:id="rId7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1B9DF6-4A7F-CE22-75A9-C8E312C968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24F0B4C-C3FC-559E-36A0-08238BBDBCC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40947" y="853440"/>
            <a:ext cx="6056241" cy="640080"/>
          </a:xfrm>
        </p:spPr>
        <p:txBody>
          <a:bodyPr vert="horz"/>
          <a:lstStyle/>
          <a:p>
            <a:r>
              <a:rPr lang="fr-FR" sz="4000" dirty="0"/>
              <a:t>ET APRES?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FBD7361-6633-B73D-C651-F4B52634831D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7</a:t>
            </a:fld>
            <a:endParaRPr lang="en-ID" dirty="0"/>
          </a:p>
        </p:txBody>
      </p:sp>
      <p:pic>
        <p:nvPicPr>
          <p:cNvPr id="4100" name="Picture 4" descr="Revêtement projeté par flocage pour l'isolation thermique - La protection  passive contre l'incendie - La correction acoustique. - Daussan">
            <a:extLst>
              <a:ext uri="{FF2B5EF4-FFF2-40B4-BE49-F238E27FC236}">
                <a16:creationId xmlns:a16="http://schemas.microsoft.com/office/drawing/2014/main" id="{8F3064E9-C297-878A-5BC4-8DFC5B526F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7636" y="2233568"/>
            <a:ext cx="2917164" cy="2186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B14A3DAE-9D37-3913-CB21-A612538317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03717" y="2258642"/>
            <a:ext cx="4707445" cy="221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8F8DF940-EC27-266E-C997-4C7B1932ECB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345756" y="4629155"/>
            <a:ext cx="2404230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dirty="0"/>
              <a:t>MISE A NIVEAU DES BATIMENTS</a:t>
            </a:r>
            <a:endParaRPr lang="fr-CA" noProof="0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id="{6C95794C-49FC-7E04-E127-4300C8E7C77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03717" y="4629155"/>
            <a:ext cx="4889219" cy="1062041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dirty="0"/>
              <a:t>MISE EN PLACE D’UNE DETECTION THERMIQUE</a:t>
            </a:r>
            <a:endParaRPr lang="fr-CA" noProof="0" dirty="0"/>
          </a:p>
        </p:txBody>
      </p:sp>
    </p:spTree>
    <p:extLst>
      <p:ext uri="{BB962C8B-B14F-4D97-AF65-F5344CB8AC3E}">
        <p14:creationId xmlns:p14="http://schemas.microsoft.com/office/powerpoint/2010/main" val="24584128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A8F55-B663-1590-68DB-C20432B87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25189F0-84E1-4E63-942C-4E61FED9D6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56159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7772400" imgH="10058400" progId="TCLayout.ActiveDocument.1">
                  <p:embed/>
                </p:oleObj>
              </mc:Choice>
              <mc:Fallback>
                <p:oleObj name="Diapositive think-cell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D43B40-FCDB-0BAC-6D2F-BB70ED9A3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7D1CB0BD-1E5A-E9A7-7859-38FACFB3045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40947" y="853440"/>
            <a:ext cx="6056241" cy="640080"/>
          </a:xfrm>
        </p:spPr>
        <p:txBody>
          <a:bodyPr vert="horz"/>
          <a:lstStyle/>
          <a:p>
            <a:r>
              <a:rPr lang="fr-FR" sz="4000" dirty="0"/>
              <a:t>Pour aller plus loin…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CAF0BC-A0DB-C97A-B54A-9F7E0068CCDE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CF6F24BE-8BEB-403A-BDCC-38E201D0662D}" type="slidenum">
              <a:rPr lang="en-ID" smtClean="0"/>
              <a:pPr/>
              <a:t>8</a:t>
            </a:fld>
            <a:endParaRPr lang="en-ID" dirty="0"/>
          </a:p>
        </p:txBody>
      </p:sp>
      <p:pic>
        <p:nvPicPr>
          <p:cNvPr id="10" name="Image 9" descr="Une image contenant texte, capture d’écran, Police, conception&#10;&#10;Description générée automatiquement">
            <a:extLst>
              <a:ext uri="{FF2B5EF4-FFF2-40B4-BE49-F238E27FC236}">
                <a16:creationId xmlns:a16="http://schemas.microsoft.com/office/drawing/2014/main" id="{9A0F390B-65C8-EA39-5B66-DE37EB8CFE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1242" y="1637864"/>
            <a:ext cx="3227558" cy="4366696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48FEE403-EFD7-ABA0-21F3-A53CE7363B6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8260" y="2702700"/>
            <a:ext cx="5214843" cy="2046853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dirty="0"/>
              <a:t>Guide </a:t>
            </a:r>
            <a:r>
              <a:rPr lang="fr-CA" dirty="0" err="1"/>
              <a:t>Fedessa</a:t>
            </a:r>
            <a:r>
              <a:rPr lang="fr-CA" dirty="0"/>
              <a:t> (traduit de l’anglais) : un </a:t>
            </a:r>
            <a:r>
              <a:rPr lang="fr-CA" dirty="0" err="1"/>
              <a:t>framework</a:t>
            </a:r>
            <a:r>
              <a:rPr lang="fr-CA" dirty="0"/>
              <a:t> de construction de son « Plan d’action et de reprise d’activité » en cas de sinistre majeur </a:t>
            </a:r>
            <a:endParaRPr lang="fr-CA" noProof="0" dirty="0"/>
          </a:p>
        </p:txBody>
      </p:sp>
    </p:spTree>
    <p:extLst>
      <p:ext uri="{BB962C8B-B14F-4D97-AF65-F5344CB8AC3E}">
        <p14:creationId xmlns:p14="http://schemas.microsoft.com/office/powerpoint/2010/main" val="3974832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PunchcardVTI">
  <a:themeElements>
    <a:clrScheme name="AnalogousFromLightSeedRightStep">
      <a:dk1>
        <a:srgbClr val="000000"/>
      </a:dk1>
      <a:lt1>
        <a:srgbClr val="FFFFFF"/>
      </a:lt1>
      <a:dk2>
        <a:srgbClr val="3A3621"/>
      </a:dk2>
      <a:lt2>
        <a:srgbClr val="E2E8E5"/>
      </a:lt2>
      <a:accent1>
        <a:srgbClr val="EA73A4"/>
      </a:accent1>
      <a:accent2>
        <a:srgbClr val="E55454"/>
      </a:accent2>
      <a:accent3>
        <a:srgbClr val="E59053"/>
      </a:accent3>
      <a:accent4>
        <a:srgbClr val="B6A343"/>
      </a:accent4>
      <a:accent5>
        <a:srgbClr val="95AB54"/>
      </a:accent5>
      <a:accent6>
        <a:srgbClr val="69B643"/>
      </a:accent6>
      <a:hlink>
        <a:srgbClr val="578F78"/>
      </a:hlink>
      <a:folHlink>
        <a:srgbClr val="7F7F7F"/>
      </a:folHlink>
    </a:clrScheme>
    <a:fontScheme name="Punchcard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unchcardVTI" id="{C7262591-AF98-8F48-B56D-6342D2439B1A}" vid="{261D9F73-974A-B14E-9EAF-4871CCA60BB1}"/>
    </a:ext>
  </a:extLst>
</a:theme>
</file>

<file path=ppt/theme/theme2.xml><?xml version="1.0" encoding="utf-8"?>
<a:theme xmlns:a="http://schemas.openxmlformats.org/drawingml/2006/main" name="Ocean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58F7"/>
      </a:accent1>
      <a:accent2>
        <a:srgbClr val="FE7032"/>
      </a:accent2>
      <a:accent3>
        <a:srgbClr val="91BED4"/>
      </a:accent3>
      <a:accent4>
        <a:srgbClr val="FFC000"/>
      </a:accent4>
      <a:accent5>
        <a:srgbClr val="D9E8F5"/>
      </a:accent5>
      <a:accent6>
        <a:srgbClr val="FFAD8D"/>
      </a:accent6>
      <a:hlink>
        <a:srgbClr val="0563C1"/>
      </a:hlink>
      <a:folHlink>
        <a:srgbClr val="954F72"/>
      </a:folHlink>
    </a:clrScheme>
    <a:fontScheme name="Montserrat ExtraBold - Open Sans">
      <a:majorFont>
        <a:latin typeface="Montserrat ExtraBold"/>
        <a:ea typeface=""/>
        <a:cs typeface=""/>
      </a:majorFont>
      <a:minorFont>
        <a:latin typeface="Open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ntégral">
  <a:themeElements>
    <a:clrScheme name="Intégral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99CB38"/>
      </a:accent1>
      <a:accent2>
        <a:srgbClr val="63A537"/>
      </a:accent2>
      <a:accent3>
        <a:srgbClr val="E6D024"/>
      </a:accent3>
      <a:accent4>
        <a:srgbClr val="CC9700"/>
      </a:accent4>
      <a:accent5>
        <a:srgbClr val="4EB3CF"/>
      </a:accent5>
      <a:accent6>
        <a:srgbClr val="378DA6"/>
      </a:accent6>
      <a:hlink>
        <a:srgbClr val="6B9F25"/>
      </a:hlink>
      <a:folHlink>
        <a:srgbClr val="B26B02"/>
      </a:folHlink>
    </a:clrScheme>
    <a:fontScheme name="Inté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é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29F68FFC-748B-4FC3-BF39-7F84A6D5840F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64BEEF0-35BF-4962-AD65-2F536E5AC6C5}">
  <we:reference id="wa200005566" version="3.0.0.2" store="fr-FR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597048A1FEFC4EB1E427A3EF0095E6" ma:contentTypeVersion="18" ma:contentTypeDescription="Een nieuw document maken." ma:contentTypeScope="" ma:versionID="709c724c6a14db89c90ef97b90a02f3f">
  <xsd:schema xmlns:xsd="http://www.w3.org/2001/XMLSchema" xmlns:xs="http://www.w3.org/2001/XMLSchema" xmlns:p="http://schemas.microsoft.com/office/2006/metadata/properties" xmlns:ns2="e83dfd4a-d210-466e-aa07-44bf06fdc40d" xmlns:ns3="f5cc60ba-607d-4884-8a78-b50996670af0" targetNamespace="http://schemas.microsoft.com/office/2006/metadata/properties" ma:root="true" ma:fieldsID="b557c2a406cea5a2203100176764666b" ns2:_="" ns3:_="">
    <xsd:import namespace="e83dfd4a-d210-466e-aa07-44bf06fdc40d"/>
    <xsd:import namespace="f5cc60ba-607d-4884-8a78-b50996670a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3dfd4a-d210-466e-aa07-44bf06fdc4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f3c2f357-e850-474e-a9c6-1ddebe3e13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cc60ba-607d-4884-8a78-b50996670af0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abe18d7-40f8-423c-b9f1-37a456f2ced2}" ma:internalName="TaxCatchAll" ma:showField="CatchAllData" ma:web="f5cc60ba-607d-4884-8a78-b50996670af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83dfd4a-d210-466e-aa07-44bf06fdc40d">
      <Terms xmlns="http://schemas.microsoft.com/office/infopath/2007/PartnerControls"/>
    </lcf76f155ced4ddcb4097134ff3c332f>
    <TaxCatchAll xmlns="f5cc60ba-607d-4884-8a78-b50996670af0" xsi:nil="true"/>
  </documentManagement>
</p:properties>
</file>

<file path=customXml/itemProps1.xml><?xml version="1.0" encoding="utf-8"?>
<ds:datastoreItem xmlns:ds="http://schemas.openxmlformats.org/officeDocument/2006/customXml" ds:itemID="{B2894C90-6D52-4C8F-B063-FEBAE6DB5497}"/>
</file>

<file path=customXml/itemProps2.xml><?xml version="1.0" encoding="utf-8"?>
<ds:datastoreItem xmlns:ds="http://schemas.openxmlformats.org/officeDocument/2006/customXml" ds:itemID="{9B709104-0A3A-4D92-BE22-32C926C59D3E}"/>
</file>

<file path=customXml/itemProps3.xml><?xml version="1.0" encoding="utf-8"?>
<ds:datastoreItem xmlns:ds="http://schemas.openxmlformats.org/officeDocument/2006/customXml" ds:itemID="{19D83E17-D467-4B4F-AB68-D5459DBC0BCE}"/>
</file>

<file path=docProps/app.xml><?xml version="1.0" encoding="utf-8"?>
<Properties xmlns="http://schemas.openxmlformats.org/officeDocument/2006/extended-properties" xmlns:vt="http://schemas.openxmlformats.org/officeDocument/2006/docPropsVTypes">
  <TotalTime>686</TotalTime>
  <Words>195</Words>
  <Application>Microsoft Macintosh PowerPoint</Application>
  <PresentationFormat>Grand écran</PresentationFormat>
  <Paragraphs>42</Paragraphs>
  <Slides>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21" baseType="lpstr">
      <vt:lpstr>Aptos</vt:lpstr>
      <vt:lpstr>Arial</vt:lpstr>
      <vt:lpstr>Cascadia Mono SemiBold</vt:lpstr>
      <vt:lpstr>Montserrat ExtraBold</vt:lpstr>
      <vt:lpstr>Neue Haas Grotesk Text Pro</vt:lpstr>
      <vt:lpstr>Open Sans</vt:lpstr>
      <vt:lpstr>Tw Cen MT</vt:lpstr>
      <vt:lpstr>Tw Cen MT Condensed</vt:lpstr>
      <vt:lpstr>Wingdings 3</vt:lpstr>
      <vt:lpstr>PunchcardVTI</vt:lpstr>
      <vt:lpstr>Ocean</vt:lpstr>
      <vt:lpstr>Intégral</vt:lpstr>
      <vt:lpstr>Diapositive think-cell</vt:lpstr>
      <vt:lpstr>QUEL PLAN D’ACTION FACE A UN SINISTRE INCENDIE ?</vt:lpstr>
      <vt:lpstr>Présentation PowerPoint</vt:lpstr>
      <vt:lpstr>Présentation PowerPoint</vt:lpstr>
      <vt:lpstr>ETES VOUS PRETS?</vt:lpstr>
      <vt:lpstr>FACE A UN INCENDIE : QUELLE COMMUNICATION?</vt:lpstr>
      <vt:lpstr>FACE A UN INCENDIE : SECURISER</vt:lpstr>
      <vt:lpstr>ET APRES?</vt:lpstr>
      <vt:lpstr>Pour aller plus loin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hilippe PEYROT</dc:creator>
  <cp:lastModifiedBy>Vincent VP. POIROT</cp:lastModifiedBy>
  <cp:revision>55</cp:revision>
  <dcterms:created xsi:type="dcterms:W3CDTF">2024-11-09T15:03:37Z</dcterms:created>
  <dcterms:modified xsi:type="dcterms:W3CDTF">2024-11-12T08:0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597048A1FEFC4EB1E427A3EF0095E6</vt:lpwstr>
  </property>
</Properties>
</file>